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77" r:id="rId5"/>
  </p:sldMasterIdLst>
  <p:handoutMasterIdLst>
    <p:handoutMasterId r:id="rId27"/>
  </p:handoutMasterIdLst>
  <p:sldIdLst>
    <p:sldId id="256" r:id="rId6"/>
    <p:sldId id="279" r:id="rId7"/>
    <p:sldId id="318" r:id="rId8"/>
    <p:sldId id="319" r:id="rId9"/>
    <p:sldId id="320" r:id="rId10"/>
    <p:sldId id="1256" r:id="rId11"/>
    <p:sldId id="278" r:id="rId12"/>
    <p:sldId id="322" r:id="rId13"/>
    <p:sldId id="1248" r:id="rId14"/>
    <p:sldId id="1245" r:id="rId15"/>
    <p:sldId id="1249" r:id="rId16"/>
    <p:sldId id="1241" r:id="rId17"/>
    <p:sldId id="1250" r:id="rId18"/>
    <p:sldId id="1257" r:id="rId19"/>
    <p:sldId id="1236" r:id="rId20"/>
    <p:sldId id="1252" r:id="rId21"/>
    <p:sldId id="1253" r:id="rId22"/>
    <p:sldId id="1254" r:id="rId23"/>
    <p:sldId id="1242" r:id="rId24"/>
    <p:sldId id="1243" r:id="rId25"/>
    <p:sldId id="304" r:id="rId26"/>
  </p:sldIdLst>
  <p:sldSz cx="12192000" cy="6858000"/>
  <p:notesSz cx="6858000" cy="9144000"/>
  <p:embeddedFontLst>
    <p:embeddedFont>
      <p:font typeface="Georgia" panose="02040502050405020303" pitchFamily="18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50A"/>
    <a:srgbClr val="6E1336"/>
    <a:srgbClr val="F0C3BE"/>
    <a:srgbClr val="092529"/>
    <a:srgbClr val="CFE9DE"/>
    <a:srgbClr val="FFC080"/>
    <a:srgbClr val="296459"/>
    <a:srgbClr val="FFC9CB"/>
    <a:srgbClr val="B8153A"/>
    <a:srgbClr val="D0EA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DE2DAF-3F1A-60AE-7D57-7B137A473CB5}" v="209" dt="2025-12-16T15:23:46.806"/>
    <p1510:client id="{5DE92EA6-B7F8-1545-6687-3E5327525204}" v="17" dt="2025-12-16T12:12:52.145"/>
  </p1510:revLst>
</p1510:revInfo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336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1.fntdata"/><Relationship Id="rId36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ttah Powah" userId="S::admin@puzzlepart.onmicrosoft.com::12c52351-57f2-4cd3-8549-8bc8a61e0f7b" providerId="AD" clId="Web-{9A5D3627-6300-9789-E6BE-09D3E1A344CB}"/>
    <pc:docChg chg="modSld">
      <pc:chgData name="Lottah Powah" userId="S::admin@puzzlepart.onmicrosoft.com::12c52351-57f2-4cd3-8549-8bc8a61e0f7b" providerId="AD" clId="Web-{9A5D3627-6300-9789-E6BE-09D3E1A344CB}" dt="2025-12-03T12:24:17.179" v="29"/>
      <pc:docMkLst>
        <pc:docMk/>
      </pc:docMkLst>
      <pc:sldChg chg="modSp">
        <pc:chgData name="Lottah Powah" userId="S::admin@puzzlepart.onmicrosoft.com::12c52351-57f2-4cd3-8549-8bc8a61e0f7b" providerId="AD" clId="Web-{9A5D3627-6300-9789-E6BE-09D3E1A344CB}" dt="2025-12-03T12:24:17.179" v="29"/>
        <pc:sldMkLst>
          <pc:docMk/>
          <pc:sldMk cId="3753028969" sldId="278"/>
        </pc:sldMkLst>
        <pc:graphicFrameChg chg="mod modGraphic">
          <ac:chgData name="Lottah Powah" userId="S::admin@puzzlepart.onmicrosoft.com::12c52351-57f2-4cd3-8549-8bc8a61e0f7b" providerId="AD" clId="Web-{9A5D3627-6300-9789-E6BE-09D3E1A344CB}" dt="2025-12-03T12:24:17.179" v="29"/>
          <ac:graphicFrameMkLst>
            <pc:docMk/>
            <pc:sldMk cId="3753028969" sldId="278"/>
            <ac:graphicFrameMk id="4" creationId="{67057529-5F07-4383-AFB3-6F3D6C0A94E5}"/>
          </ac:graphicFrameMkLst>
        </pc:graphicFrameChg>
      </pc:sldChg>
      <pc:sldChg chg="modSp">
        <pc:chgData name="Lottah Powah" userId="S::admin@puzzlepart.onmicrosoft.com::12c52351-57f2-4cd3-8549-8bc8a61e0f7b" providerId="AD" clId="Web-{9A5D3627-6300-9789-E6BE-09D3E1A344CB}" dt="2025-12-03T12:21:16.176" v="3"/>
        <pc:sldMkLst>
          <pc:docMk/>
          <pc:sldMk cId="476236398" sldId="318"/>
        </pc:sldMkLst>
      </pc:sldChg>
    </pc:docChg>
  </pc:docChgLst>
  <pc:docChgLst>
    <pc:chgData name="Lottah Powah" userId="S::admin@puzzlepart.onmicrosoft.com::12c52351-57f2-4cd3-8549-8bc8a61e0f7b" providerId="AD" clId="Web-{517D9DBC-B7E1-ECE1-406F-9105A3EEC701}"/>
    <pc:docChg chg="modSld">
      <pc:chgData name="Lottah Powah" userId="S::admin@puzzlepart.onmicrosoft.com::12c52351-57f2-4cd3-8549-8bc8a61e0f7b" providerId="AD" clId="Web-{517D9DBC-B7E1-ECE1-406F-9105A3EEC701}" dt="2025-12-03T09:57:31.336" v="53"/>
      <pc:docMkLst>
        <pc:docMk/>
      </pc:docMkLst>
      <pc:sldChg chg="modSp">
        <pc:chgData name="Lottah Powah" userId="S::admin@puzzlepart.onmicrosoft.com::12c52351-57f2-4cd3-8549-8bc8a61e0f7b" providerId="AD" clId="Web-{517D9DBC-B7E1-ECE1-406F-9105A3EEC701}" dt="2025-12-03T09:53:47.759" v="3" actId="20577"/>
        <pc:sldMkLst>
          <pc:docMk/>
          <pc:sldMk cId="3074081378" sldId="256"/>
        </pc:sldMkLst>
        <pc:spChg chg="mod">
          <ac:chgData name="Lottah Powah" userId="S::admin@puzzlepart.onmicrosoft.com::12c52351-57f2-4cd3-8549-8bc8a61e0f7b" providerId="AD" clId="Web-{517D9DBC-B7E1-ECE1-406F-9105A3EEC701}" dt="2025-12-03T09:53:47.759" v="3" actId="20577"/>
          <ac:spMkLst>
            <pc:docMk/>
            <pc:sldMk cId="3074081378" sldId="256"/>
            <ac:spMk id="3" creationId="{64F22D1D-8400-4164-B030-381870A155E5}"/>
          </ac:spMkLst>
        </pc:spChg>
      </pc:sldChg>
      <pc:sldChg chg="modSp">
        <pc:chgData name="Lottah Powah" userId="S::admin@puzzlepart.onmicrosoft.com::12c52351-57f2-4cd3-8549-8bc8a61e0f7b" providerId="AD" clId="Web-{517D9DBC-B7E1-ECE1-406F-9105A3EEC701}" dt="2025-12-03T09:55:55.586" v="15" actId="20577"/>
        <pc:sldMkLst>
          <pc:docMk/>
          <pc:sldMk cId="1126235060" sldId="279"/>
        </pc:sldMkLst>
        <pc:spChg chg="mod">
          <ac:chgData name="Lottah Powah" userId="S::admin@puzzlepart.onmicrosoft.com::12c52351-57f2-4cd3-8549-8bc8a61e0f7b" providerId="AD" clId="Web-{517D9DBC-B7E1-ECE1-406F-9105A3EEC701}" dt="2025-12-03T09:55:53.414" v="14" actId="20577"/>
          <ac:spMkLst>
            <pc:docMk/>
            <pc:sldMk cId="1126235060" sldId="279"/>
            <ac:spMk id="14" creationId="{ACC01216-2BDE-4E66-B270-7CA948F8A4BA}"/>
          </ac:spMkLst>
        </pc:spChg>
        <pc:spChg chg="mod">
          <ac:chgData name="Lottah Powah" userId="S::admin@puzzlepart.onmicrosoft.com::12c52351-57f2-4cd3-8549-8bc8a61e0f7b" providerId="AD" clId="Web-{517D9DBC-B7E1-ECE1-406F-9105A3EEC701}" dt="2025-12-03T09:55:55.586" v="15" actId="20577"/>
          <ac:spMkLst>
            <pc:docMk/>
            <pc:sldMk cId="1126235060" sldId="279"/>
            <ac:spMk id="15" creationId="{FE4CA70E-BF2C-4C82-8C3D-BD5CC0271518}"/>
          </ac:spMkLst>
        </pc:spChg>
      </pc:sldChg>
      <pc:sldChg chg="modSp">
        <pc:chgData name="Lottah Powah" userId="S::admin@puzzlepart.onmicrosoft.com::12c52351-57f2-4cd3-8549-8bc8a61e0f7b" providerId="AD" clId="Web-{517D9DBC-B7E1-ECE1-406F-9105A3EEC701}" dt="2025-12-03T09:57:31.336" v="53"/>
        <pc:sldMkLst>
          <pc:docMk/>
          <pc:sldMk cId="476236398" sldId="318"/>
        </pc:sldMkLst>
      </pc:sldChg>
      <pc:sldChg chg="modSp">
        <pc:chgData name="Lottah Powah" userId="S::admin@puzzlepart.onmicrosoft.com::12c52351-57f2-4cd3-8549-8bc8a61e0f7b" providerId="AD" clId="Web-{517D9DBC-B7E1-ECE1-406F-9105A3EEC701}" dt="2025-12-03T09:56:08.696" v="24"/>
        <pc:sldMkLst>
          <pc:docMk/>
          <pc:sldMk cId="358265764" sldId="320"/>
        </pc:sldMkLst>
      </pc:sldChg>
    </pc:docChg>
  </pc:docChgLst>
  <pc:docChgLst>
    <pc:chgData name="Lottah Powah" userId="S::admin@puzzlepart.onmicrosoft.com::12c52351-57f2-4cd3-8549-8bc8a61e0f7b" providerId="AD" clId="Web-{46DE2DAF-3F1A-60AE-7D57-7B137A473CB5}"/>
    <pc:docChg chg="addSld modSld">
      <pc:chgData name="Lottah Powah" userId="S::admin@puzzlepart.onmicrosoft.com::12c52351-57f2-4cd3-8549-8bc8a61e0f7b" providerId="AD" clId="Web-{46DE2DAF-3F1A-60AE-7D57-7B137A473CB5}" dt="2025-12-16T15:23:46.806" v="125" actId="20577"/>
      <pc:docMkLst>
        <pc:docMk/>
      </pc:docMkLst>
      <pc:sldChg chg="modSp">
        <pc:chgData name="Lottah Powah" userId="S::admin@puzzlepart.onmicrosoft.com::12c52351-57f2-4cd3-8549-8bc8a61e0f7b" providerId="AD" clId="Web-{46DE2DAF-3F1A-60AE-7D57-7B137A473CB5}" dt="2025-12-16T14:30:21.654" v="31"/>
        <pc:sldMkLst>
          <pc:docMk/>
          <pc:sldMk cId="3753028969" sldId="278"/>
        </pc:sldMkLst>
        <pc:graphicFrameChg chg="mod modGraphic">
          <ac:chgData name="Lottah Powah" userId="S::admin@puzzlepart.onmicrosoft.com::12c52351-57f2-4cd3-8549-8bc8a61e0f7b" providerId="AD" clId="Web-{46DE2DAF-3F1A-60AE-7D57-7B137A473CB5}" dt="2025-12-16T14:30:21.654" v="31"/>
          <ac:graphicFrameMkLst>
            <pc:docMk/>
            <pc:sldMk cId="3753028969" sldId="278"/>
            <ac:graphicFrameMk id="4" creationId="{67057529-5F07-4383-AFB3-6F3D6C0A94E5}"/>
          </ac:graphicFrameMkLst>
        </pc:graphicFrameChg>
      </pc:sldChg>
      <pc:sldChg chg="modSp">
        <pc:chgData name="Lottah Powah" userId="S::admin@puzzlepart.onmicrosoft.com::12c52351-57f2-4cd3-8549-8bc8a61e0f7b" providerId="AD" clId="Web-{46DE2DAF-3F1A-60AE-7D57-7B137A473CB5}" dt="2025-12-16T15:23:46.806" v="125" actId="20577"/>
        <pc:sldMkLst>
          <pc:docMk/>
          <pc:sldMk cId="476236398" sldId="318"/>
        </pc:sldMkLst>
        <pc:spChg chg="mod">
          <ac:chgData name="Lottah Powah" userId="S::admin@puzzlepart.onmicrosoft.com::12c52351-57f2-4cd3-8549-8bc8a61e0f7b" providerId="AD" clId="Web-{46DE2DAF-3F1A-60AE-7D57-7B137A473CB5}" dt="2025-12-16T15:23:46.806" v="125" actId="20577"/>
          <ac:spMkLst>
            <pc:docMk/>
            <pc:sldMk cId="476236398" sldId="318"/>
            <ac:spMk id="2" creationId="{07BD9409-1C7A-8CBA-85C8-FFBC0B53B823}"/>
          </ac:spMkLst>
        </pc:spChg>
      </pc:sldChg>
      <pc:sldChg chg="addSp delSp modSp">
        <pc:chgData name="Lottah Powah" userId="S::admin@puzzlepart.onmicrosoft.com::12c52351-57f2-4cd3-8549-8bc8a61e0f7b" providerId="AD" clId="Web-{46DE2DAF-3F1A-60AE-7D57-7B137A473CB5}" dt="2025-12-16T14:40:24.514" v="93" actId="20577"/>
        <pc:sldMkLst>
          <pc:docMk/>
          <pc:sldMk cId="2693604669" sldId="322"/>
        </pc:sldMkLst>
        <pc:spChg chg="add del">
          <ac:chgData name="Lottah Powah" userId="S::admin@puzzlepart.onmicrosoft.com::12c52351-57f2-4cd3-8549-8bc8a61e0f7b" providerId="AD" clId="Web-{46DE2DAF-3F1A-60AE-7D57-7B137A473CB5}" dt="2025-12-16T14:30:44.451" v="33"/>
          <ac:spMkLst>
            <pc:docMk/>
            <pc:sldMk cId="2693604669" sldId="322"/>
            <ac:spMk id="3" creationId="{E28D5DF3-E290-DF72-8C17-2825978996FF}"/>
          </ac:spMkLst>
        </pc:spChg>
        <pc:spChg chg="add mod">
          <ac:chgData name="Lottah Powah" userId="S::admin@puzzlepart.onmicrosoft.com::12c52351-57f2-4cd3-8549-8bc8a61e0f7b" providerId="AD" clId="Web-{46DE2DAF-3F1A-60AE-7D57-7B137A473CB5}" dt="2025-12-16T14:40:24.514" v="93" actId="20577"/>
          <ac:spMkLst>
            <pc:docMk/>
            <pc:sldMk cId="2693604669" sldId="322"/>
            <ac:spMk id="6" creationId="{4A8E6EAC-1067-DF64-5D32-C4F11C1BA6C2}"/>
          </ac:spMkLst>
        </pc:spChg>
        <pc:graphicFrameChg chg="del mod">
          <ac:chgData name="Lottah Powah" userId="S::admin@puzzlepart.onmicrosoft.com::12c52351-57f2-4cd3-8549-8bc8a61e0f7b" providerId="AD" clId="Web-{46DE2DAF-3F1A-60AE-7D57-7B137A473CB5}" dt="2025-12-16T14:33:30.919" v="58"/>
          <ac:graphicFrameMkLst>
            <pc:docMk/>
            <pc:sldMk cId="2693604669" sldId="322"/>
            <ac:graphicFrameMk id="5" creationId="{ED2FA090-C5E8-4DF6-BCB9-F38620281AF5}"/>
          </ac:graphicFrameMkLst>
        </pc:graphicFrameChg>
      </pc:sldChg>
      <pc:sldChg chg="addSp delSp modSp new">
        <pc:chgData name="Lottah Powah" userId="S::admin@puzzlepart.onmicrosoft.com::12c52351-57f2-4cd3-8549-8bc8a61e0f7b" providerId="AD" clId="Web-{46DE2DAF-3F1A-60AE-7D57-7B137A473CB5}" dt="2025-12-16T15:16:48.814" v="103" actId="20577"/>
        <pc:sldMkLst>
          <pc:docMk/>
          <pc:sldMk cId="3267341850" sldId="1257"/>
        </pc:sldMkLst>
        <pc:spChg chg="mod">
          <ac:chgData name="Lottah Powah" userId="S::admin@puzzlepart.onmicrosoft.com::12c52351-57f2-4cd3-8549-8bc8a61e0f7b" providerId="AD" clId="Web-{46DE2DAF-3F1A-60AE-7D57-7B137A473CB5}" dt="2025-12-16T14:34:06.904" v="61" actId="20577"/>
          <ac:spMkLst>
            <pc:docMk/>
            <pc:sldMk cId="3267341850" sldId="1257"/>
            <ac:spMk id="2" creationId="{71AF2E54-6667-A7D6-3E49-4105C5C1CCC5}"/>
          </ac:spMkLst>
        </pc:spChg>
        <pc:spChg chg="del">
          <ac:chgData name="Lottah Powah" userId="S::admin@puzzlepart.onmicrosoft.com::12c52351-57f2-4cd3-8549-8bc8a61e0f7b" providerId="AD" clId="Web-{46DE2DAF-3F1A-60AE-7D57-7B137A473CB5}" dt="2025-12-16T14:34:09.091" v="62"/>
          <ac:spMkLst>
            <pc:docMk/>
            <pc:sldMk cId="3267341850" sldId="1257"/>
            <ac:spMk id="3" creationId="{9BB3253A-4555-3ACC-190C-DB5BE12A2472}"/>
          </ac:spMkLst>
        </pc:spChg>
        <pc:spChg chg="add mod">
          <ac:chgData name="Lottah Powah" userId="S::admin@puzzlepart.onmicrosoft.com::12c52351-57f2-4cd3-8549-8bc8a61e0f7b" providerId="AD" clId="Web-{46DE2DAF-3F1A-60AE-7D57-7B137A473CB5}" dt="2025-12-16T15:16:48.814" v="103" actId="20577"/>
          <ac:spMkLst>
            <pc:docMk/>
            <pc:sldMk cId="3267341850" sldId="1257"/>
            <ac:spMk id="5" creationId="{2E14F306-879C-8798-5678-8DEDB6D4A41C}"/>
          </ac:spMkLst>
        </pc:spChg>
      </pc:sldChg>
    </pc:docChg>
  </pc:docChgLst>
  <pc:docChgLst>
    <pc:chgData name="Lottah Powah" userId="S::admin@puzzlepart.onmicrosoft.com::12c52351-57f2-4cd3-8549-8bc8a61e0f7b" providerId="AD" clId="Web-{5DE92EA6-B7F8-1545-6687-3E5327525204}"/>
    <pc:docChg chg="modSld">
      <pc:chgData name="Lottah Powah" userId="S::admin@puzzlepart.onmicrosoft.com::12c52351-57f2-4cd3-8549-8bc8a61e0f7b" providerId="AD" clId="Web-{5DE92EA6-B7F8-1545-6687-3E5327525204}" dt="2025-12-16T12:12:51.004" v="13" actId="14100"/>
      <pc:docMkLst>
        <pc:docMk/>
      </pc:docMkLst>
      <pc:sldChg chg="addSp delSp modSp">
        <pc:chgData name="Lottah Powah" userId="S::admin@puzzlepart.onmicrosoft.com::12c52351-57f2-4cd3-8549-8bc8a61e0f7b" providerId="AD" clId="Web-{5DE92EA6-B7F8-1545-6687-3E5327525204}" dt="2025-12-16T12:12:07.360" v="7" actId="14100"/>
        <pc:sldMkLst>
          <pc:docMk/>
          <pc:sldMk cId="476236398" sldId="318"/>
        </pc:sldMkLst>
        <pc:spChg chg="add mod">
          <ac:chgData name="Lottah Powah" userId="S::admin@puzzlepart.onmicrosoft.com::12c52351-57f2-4cd3-8549-8bc8a61e0f7b" providerId="AD" clId="Web-{5DE92EA6-B7F8-1545-6687-3E5327525204}" dt="2025-12-16T12:12:07.360" v="7" actId="14100"/>
          <ac:spMkLst>
            <pc:docMk/>
            <pc:sldMk cId="476236398" sldId="318"/>
            <ac:spMk id="2" creationId="{07BD9409-1C7A-8CBA-85C8-FFBC0B53B823}"/>
          </ac:spMkLst>
        </pc:spChg>
        <pc:graphicFrameChg chg="del mod modGraphic">
          <ac:chgData name="Lottah Powah" userId="S::admin@puzzlepart.onmicrosoft.com::12c52351-57f2-4cd3-8549-8bc8a61e0f7b" providerId="AD" clId="Web-{5DE92EA6-B7F8-1545-6687-3E5327525204}" dt="2025-12-16T12:11:49.109" v="2"/>
          <ac:graphicFrameMkLst>
            <pc:docMk/>
            <pc:sldMk cId="476236398" sldId="318"/>
            <ac:graphicFrameMk id="6" creationId="{3EEB542A-E95B-42A4-A616-ACB1D7B1C415}"/>
          </ac:graphicFrameMkLst>
        </pc:graphicFrameChg>
      </pc:sldChg>
      <pc:sldChg chg="addSp delSp modSp">
        <pc:chgData name="Lottah Powah" userId="S::admin@puzzlepart.onmicrosoft.com::12c52351-57f2-4cd3-8549-8bc8a61e0f7b" providerId="AD" clId="Web-{5DE92EA6-B7F8-1545-6687-3E5327525204}" dt="2025-12-16T12:12:51.004" v="13" actId="14100"/>
        <pc:sldMkLst>
          <pc:docMk/>
          <pc:sldMk cId="358265764" sldId="320"/>
        </pc:sldMkLst>
        <pc:spChg chg="add mod">
          <ac:chgData name="Lottah Powah" userId="S::admin@puzzlepart.onmicrosoft.com::12c52351-57f2-4cd3-8549-8bc8a61e0f7b" providerId="AD" clId="Web-{5DE92EA6-B7F8-1545-6687-3E5327525204}" dt="2025-12-16T12:12:51.004" v="13" actId="14100"/>
          <ac:spMkLst>
            <pc:docMk/>
            <pc:sldMk cId="358265764" sldId="320"/>
            <ac:spMk id="4" creationId="{565D9450-28A8-9BA0-9F01-75CB9CF859D6}"/>
          </ac:spMkLst>
        </pc:spChg>
        <pc:graphicFrameChg chg="del">
          <ac:chgData name="Lottah Powah" userId="S::admin@puzzlepart.onmicrosoft.com::12c52351-57f2-4cd3-8549-8bc8a61e0f7b" providerId="AD" clId="Web-{5DE92EA6-B7F8-1545-6687-3E5327525204}" dt="2025-12-16T12:12:36.268" v="8"/>
          <ac:graphicFrameMkLst>
            <pc:docMk/>
            <pc:sldMk cId="358265764" sldId="320"/>
            <ac:graphicFrameMk id="3" creationId="{8E23E855-B206-551A-D884-D8AF0266C8BF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E2E06772-4628-49C7-B5E7-3EF8C875E9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207E314A-BF09-405E-BC64-C53624FA0A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73D26-4D0E-4123-B9FF-F098870C00B1}" type="datetimeFigureOut">
              <a:rPr lang="nb-NO" smtClean="0"/>
              <a:t>16.12.2025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750F36E-2171-44CC-848C-0D6DBF8C8E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5B3E626D-1153-47E8-83F0-7A24E81B32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C4F6D5-34FE-42F2-A61D-991F6BC5CB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0456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title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4378804"/>
            <a:ext cx="9144000" cy="1200329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5613342"/>
            <a:ext cx="9144000" cy="720000"/>
          </a:xfrm>
        </p:spPr>
        <p:txBody>
          <a:bodyPr tIns="0" bIns="0">
            <a:noAutofit/>
          </a:bodyPr>
          <a:lstStyle>
            <a:lvl1pPr marL="0" indent="0" algn="ctr">
              <a:buNone/>
              <a:defRPr sz="2000" b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endParaRPr lang="nb-NO"/>
          </a:p>
        </p:txBody>
      </p:sp>
      <p:sp>
        <p:nvSpPr>
          <p:cNvPr id="5" name="addin_colorlist" hidden="1">
            <a:extLst>
              <a:ext uri="{FF2B5EF4-FFF2-40B4-BE49-F238E27FC236}">
                <a16:creationId xmlns:a16="http://schemas.microsoft.com/office/drawing/2014/main" id="{C38FE9A3-8AEF-4C9B-ADBA-2EDEA0FD901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6" name="addin_colorbox" hidden="1">
            <a:extLst>
              <a:ext uri="{FF2B5EF4-FFF2-40B4-BE49-F238E27FC236}">
                <a16:creationId xmlns:a16="http://schemas.microsoft.com/office/drawing/2014/main" id="{8480C44E-17FF-4334-9F95-1AAD89444FA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EA806EE6-3F22-43B3-8BC9-F869FE2EA12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B30C6E37-1766-4668-BDD5-2888096AEA4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F7C01020-9956-482D-AF99-A0E00FC0619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5D3371CC-C6D7-41BA-B192-B0B651BBD39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grpSp>
        <p:nvGrpSpPr>
          <p:cNvPr id="7" name="logo_hvit">
            <a:extLst>
              <a:ext uri="{FF2B5EF4-FFF2-40B4-BE49-F238E27FC236}">
                <a16:creationId xmlns:a16="http://schemas.microsoft.com/office/drawing/2014/main" id="{27AF7C70-228E-41B7-939F-A51ACB7A9F91}"/>
              </a:ext>
            </a:extLst>
          </p:cNvPr>
          <p:cNvGrpSpPr/>
          <p:nvPr userDrawn="1"/>
        </p:nvGrpSpPr>
        <p:grpSpPr>
          <a:xfrm>
            <a:off x="4000500" y="712253"/>
            <a:ext cx="4165600" cy="3554038"/>
            <a:chOff x="4000500" y="712253"/>
            <a:chExt cx="4165600" cy="3554038"/>
          </a:xfrm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5C50A028-233F-4B2B-B583-1D5AFDA00C44}"/>
                </a:ext>
              </a:extLst>
            </p:cNvPr>
            <p:cNvSpPr/>
            <p:nvPr userDrawn="1"/>
          </p:nvSpPr>
          <p:spPr>
            <a:xfrm>
              <a:off x="4000500" y="712253"/>
              <a:ext cx="41656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Bilde 13">
              <a:extLst>
                <a:ext uri="{FF2B5EF4-FFF2-40B4-BE49-F238E27FC236}">
                  <a16:creationId xmlns:a16="http://schemas.microsoft.com/office/drawing/2014/main" id="{3CB38328-78B7-4B58-9355-D1FB8D101A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1554" y="1026124"/>
              <a:ext cx="3288892" cy="3240167"/>
            </a:xfrm>
            <a:prstGeom prst="rect">
              <a:avLst/>
            </a:prstGeom>
          </p:spPr>
        </p:pic>
      </p:grpSp>
      <p:grpSp>
        <p:nvGrpSpPr>
          <p:cNvPr id="12" name="logo_sort" hidden="1">
            <a:extLst>
              <a:ext uri="{FF2B5EF4-FFF2-40B4-BE49-F238E27FC236}">
                <a16:creationId xmlns:a16="http://schemas.microsoft.com/office/drawing/2014/main" id="{F6397E9E-9783-4945-A70C-01543D31C7FD}"/>
              </a:ext>
            </a:extLst>
          </p:cNvPr>
          <p:cNvGrpSpPr/>
          <p:nvPr userDrawn="1"/>
        </p:nvGrpSpPr>
        <p:grpSpPr>
          <a:xfrm>
            <a:off x="4000500" y="543484"/>
            <a:ext cx="4330700" cy="3779064"/>
            <a:chOff x="4000500" y="543484"/>
            <a:chExt cx="4330700" cy="3779064"/>
          </a:xfrm>
        </p:grpSpPr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3E694D97-D6A3-4327-A5EA-EE6A0EE1114C}"/>
                </a:ext>
              </a:extLst>
            </p:cNvPr>
            <p:cNvSpPr/>
            <p:nvPr userDrawn="1"/>
          </p:nvSpPr>
          <p:spPr>
            <a:xfrm>
              <a:off x="4000500" y="543484"/>
              <a:ext cx="4330700" cy="3779064"/>
            </a:xfrm>
            <a:prstGeom prst="rect">
              <a:avLst/>
            </a:prstGeom>
            <a:solidFill>
              <a:srgbClr val="D0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" name="Bilde 15">
              <a:extLst>
                <a:ext uri="{FF2B5EF4-FFF2-40B4-BE49-F238E27FC236}">
                  <a16:creationId xmlns:a16="http://schemas.microsoft.com/office/drawing/2014/main" id="{8610030E-54EB-437C-A6A8-94E707EAA5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451554" y="1009020"/>
              <a:ext cx="3288723" cy="32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056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006853"/>
            <a:ext cx="6862478" cy="584775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1944686"/>
            <a:ext cx="6862479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71090" y="621505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1089" y="3519489"/>
            <a:ext cx="3197224" cy="2717007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3966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14410"/>
            <a:ext cx="4590539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944686"/>
            <a:ext cx="4590540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99150" y="621505"/>
            <a:ext cx="5469163" cy="5614992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8105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(H)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2000" y="0"/>
            <a:ext cx="3810001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14410"/>
            <a:ext cx="7073390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1944686"/>
            <a:ext cx="7073391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addin_logo" hidden="1">
            <a:extLst>
              <a:ext uri="{FF2B5EF4-FFF2-40B4-BE49-F238E27FC236}">
                <a16:creationId xmlns:a16="http://schemas.microsoft.com/office/drawing/2014/main" id="{19977D30-B0F4-44F9-B5EA-152B4A9FE2C4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1" name="addin_grouplist" hidden="1">
            <a:extLst>
              <a:ext uri="{FF2B5EF4-FFF2-40B4-BE49-F238E27FC236}">
                <a16:creationId xmlns:a16="http://schemas.microsoft.com/office/drawing/2014/main" id="{262D7235-0628-46F8-9297-EA62F192D14E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69A794E6-FBA7-495D-9B81-8725860E79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3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BC3ACF6B-A605-4128-AA4A-30AA31F217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9F8657B-B408-4751-A670-61A5A22776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8202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 (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10001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052" y="514410"/>
            <a:ext cx="6823748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8663" y="6401593"/>
            <a:ext cx="3081338" cy="36512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30052" y="1944686"/>
            <a:ext cx="6823748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2084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(H)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514410"/>
            <a:ext cx="4787388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44686"/>
            <a:ext cx="4787389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6000" cy="6858000"/>
          </a:xfrm>
        </p:spPr>
        <p:txBody>
          <a:bodyPr/>
          <a:lstStyle/>
          <a:p>
            <a:endParaRPr lang="nb-NO"/>
          </a:p>
        </p:txBody>
      </p:sp>
      <p:pic>
        <p:nvPicPr>
          <p:cNvPr id="9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32D0FF0A-F6EB-4136-80E4-6D56E406EA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1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F999BB4E-7DDD-4A55-B375-0E7E363804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C86949ED-8606-4108-A8B5-E4ECDFA1BCCC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5" name="addin_grouplist" hidden="1">
            <a:extLst>
              <a:ext uri="{FF2B5EF4-FFF2-40B4-BE49-F238E27FC236}">
                <a16:creationId xmlns:a16="http://schemas.microsoft.com/office/drawing/2014/main" id="{135AD465-4651-4252-A7A1-C80A6A26771A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B008A-C585-402B-938E-D53A500C94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1491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(H)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514864"/>
            <a:ext cx="2719816" cy="107653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01593"/>
            <a:ext cx="2719816" cy="365125"/>
          </a:xfrm>
        </p:spPr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48113" y="0"/>
            <a:ext cx="8243888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492E81B-43E3-48FF-B489-A3558BB651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201" y="1944686"/>
            <a:ext cx="2719816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14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8102C903-FBDA-4109-845B-13BDDD6B57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5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F3007C33-4589-406C-A6B6-96F8CA946C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B6F5146D-162B-4E82-96D6-A8C2B3947BD1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01916075-28FB-44A0-97E3-C257832F78E9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3D9CD-52E2-4FC2-9292-06A6A05202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3765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r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14410"/>
            <a:ext cx="6705600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826790"/>
            <a:ext cx="3197224" cy="1358504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199" y="1944687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19558" y="1944687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B39DEC3-1888-4095-98CE-7106A1D231F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9145" y="1944686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3EA6110-87F0-4A5C-995C-528EC4C53B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9558" y="4826790"/>
            <a:ext cx="3197224" cy="1358504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AB4BC7F-0C6D-4C89-8E2F-788F97367BA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9145" y="4826790"/>
            <a:ext cx="3197224" cy="1358504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19319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7267"/>
            <a:ext cx="10515600" cy="716674"/>
          </a:xfrm>
        </p:spPr>
        <p:txBody>
          <a:bodyPr anchor="t"/>
          <a:lstStyle>
            <a:lvl1pPr algn="ctr">
              <a:defRPr sz="1800" b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378535-920D-456B-817D-7BC5E6AA3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05E94FA-D334-43C6-8C96-F77469F6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6043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re overskrift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7267"/>
            <a:ext cx="10515600" cy="716674"/>
          </a:xfrm>
        </p:spPr>
        <p:txBody>
          <a:bodyPr anchor="t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378535-920D-456B-817D-7BC5E6AA3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05E94FA-D334-43C6-8C96-F77469F6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33163BA1-6390-4B8A-9563-B47D03FED8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5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96AA067C-023F-4039-A4E4-AAF28C93C3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8CE9065-7145-4337-BD0E-E6F480570328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9A3ED4EB-FAD8-441A-B408-11B864A45D61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544C96D-8E96-4DA5-89AA-BA3C23D863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4271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8486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logo_sort" hidden="1">
            <a:extLst>
              <a:ext uri="{FF2B5EF4-FFF2-40B4-BE49-F238E27FC236}">
                <a16:creationId xmlns:a16="http://schemas.microsoft.com/office/drawing/2014/main" id="{AB0D71F0-0134-4195-BB76-BC79BE0F5BD4}"/>
              </a:ext>
            </a:extLst>
          </p:cNvPr>
          <p:cNvGrpSpPr/>
          <p:nvPr userDrawn="1"/>
        </p:nvGrpSpPr>
        <p:grpSpPr>
          <a:xfrm>
            <a:off x="2278743" y="725002"/>
            <a:ext cx="3814762" cy="2851854"/>
            <a:chOff x="2278743" y="725002"/>
            <a:chExt cx="3814762" cy="2851854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B7E4BBE-EED8-4927-94A7-B7FA81BDDEBB}"/>
                </a:ext>
              </a:extLst>
            </p:cNvPr>
            <p:cNvSpPr/>
            <p:nvPr userDrawn="1"/>
          </p:nvSpPr>
          <p:spPr>
            <a:xfrm>
              <a:off x="2278743" y="725002"/>
              <a:ext cx="3814762" cy="2851854"/>
            </a:xfrm>
            <a:prstGeom prst="rect">
              <a:avLst/>
            </a:prstGeom>
            <a:solidFill>
              <a:srgbClr val="D0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6" name="Bilde 25">
              <a:extLst>
                <a:ext uri="{FF2B5EF4-FFF2-40B4-BE49-F238E27FC236}">
                  <a16:creationId xmlns:a16="http://schemas.microsoft.com/office/drawing/2014/main" id="{AD557D76-995C-41AF-BBCC-EC9471EBC6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082089" y="1021873"/>
              <a:ext cx="2209256" cy="2176526"/>
            </a:xfrm>
            <a:prstGeom prst="rect">
              <a:avLst/>
            </a:prstGeom>
          </p:spPr>
        </p:pic>
      </p:grpSp>
      <p:grpSp>
        <p:nvGrpSpPr>
          <p:cNvPr id="6" name="logo_hvit">
            <a:extLst>
              <a:ext uri="{FF2B5EF4-FFF2-40B4-BE49-F238E27FC236}">
                <a16:creationId xmlns:a16="http://schemas.microsoft.com/office/drawing/2014/main" id="{EE99034C-DD43-44B4-BE59-D6AC14880FE2}"/>
              </a:ext>
            </a:extLst>
          </p:cNvPr>
          <p:cNvGrpSpPr/>
          <p:nvPr userDrawn="1"/>
        </p:nvGrpSpPr>
        <p:grpSpPr>
          <a:xfrm>
            <a:off x="2588859" y="725002"/>
            <a:ext cx="3195990" cy="2770267"/>
            <a:chOff x="2588859" y="725002"/>
            <a:chExt cx="3195990" cy="2770267"/>
          </a:xfrm>
        </p:grpSpPr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DB1653C6-7C24-4C8F-BFFC-A5850901E10E}"/>
                </a:ext>
              </a:extLst>
            </p:cNvPr>
            <p:cNvSpPr/>
            <p:nvPr userDrawn="1"/>
          </p:nvSpPr>
          <p:spPr>
            <a:xfrm>
              <a:off x="2588859" y="725002"/>
              <a:ext cx="3195990" cy="2770267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3" name="Bilde 22">
              <a:extLst>
                <a:ext uri="{FF2B5EF4-FFF2-40B4-BE49-F238E27FC236}">
                  <a16:creationId xmlns:a16="http://schemas.microsoft.com/office/drawing/2014/main" id="{E7AAD9CC-77B1-4ADC-AD83-6D7E5AC03C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3082089" y="1021873"/>
              <a:ext cx="2209256" cy="217652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95766" y="3658443"/>
            <a:ext cx="7581901" cy="1200329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95766" y="4895559"/>
            <a:ext cx="7581901" cy="720000"/>
          </a:xfrm>
        </p:spPr>
        <p:txBody>
          <a:bodyPr tIns="0" bIns="0">
            <a:noAutofit/>
          </a:bodyPr>
          <a:lstStyle>
            <a:lvl1pPr marL="0" indent="0" algn="ctr">
              <a:buNone/>
              <a:defRPr sz="2000" b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endParaRPr lang="nb-NO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D957DBD-2D0C-4857-BFDE-FCA73EF5FE7D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686050" y="5997106"/>
            <a:ext cx="3098799" cy="365125"/>
          </a:xfrm>
          <a:prstGeom prst="rect">
            <a:avLst/>
          </a:prstGeom>
        </p:spPr>
        <p:txBody>
          <a:bodyPr/>
          <a:lstStyle>
            <a:lvl1pPr algn="ctr">
              <a:defRPr sz="1400" b="0">
                <a:solidFill>
                  <a:schemeClr val="accent2"/>
                </a:solidFill>
              </a:defRPr>
            </a:lvl1pPr>
          </a:lstStyle>
          <a:p>
            <a:fld id="{05FCA8A3-9B33-404F-A49C-AB7FF6A9146C}" type="datetimeFigureOut">
              <a:rPr lang="nb-NO" smtClean="0"/>
              <a:pPr/>
              <a:t>16.12.2025</a:t>
            </a:fld>
            <a:endParaRPr lang="nb-NO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EAB656B-DCF4-4A99-87D3-2CA463ABC9D2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377238" y="0"/>
            <a:ext cx="3814762" cy="6858000"/>
          </a:xfrm>
          <a:blipFill dpi="0" rotWithShape="1">
            <a:blip r:embed="rId4"/>
            <a:srcRect/>
            <a:tile tx="0" ty="0" sx="55000" sy="55000" flip="none" algn="tl"/>
          </a:blipFill>
        </p:spPr>
        <p:txBody>
          <a:bodyPr/>
          <a:lstStyle/>
          <a:p>
            <a:endParaRPr lang="nb-NO"/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A9BC8820-FFC0-46B9-88EE-041D6C9349B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5C9AB903-EDD1-42AB-98E0-1EF43638566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background" hidden="1">
            <a:extLst>
              <a:ext uri="{FF2B5EF4-FFF2-40B4-BE49-F238E27FC236}">
                <a16:creationId xmlns:a16="http://schemas.microsoft.com/office/drawing/2014/main" id="{B71446BD-3F17-4E68-B492-3B3BFA181E4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48B32FFB-F2F9-4369-B734-6477423AF65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28CE6DDF-629C-4BBB-891F-FCADCD3DAC2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33B1D2DD-EF9A-407C-92EC-2D9B663DFB6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32111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8529" y="2855614"/>
            <a:ext cx="4566701" cy="1146771"/>
          </a:xfrm>
          <a:solidFill>
            <a:schemeClr val="accent1"/>
          </a:solidFill>
        </p:spPr>
        <p:txBody>
          <a:bodyPr lIns="360000" tIns="288000" rIns="360000" bIns="360000" anchor="ctr" anchorCtr="0">
            <a:spAutoFit/>
          </a:bodyPr>
          <a:lstStyle>
            <a:lvl1pPr algn="ctr">
              <a:defRPr sz="32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Tekst</a:t>
            </a:r>
            <a:endParaRPr lang="nb-NO"/>
          </a:p>
        </p:txBody>
      </p:sp>
      <p:sp>
        <p:nvSpPr>
          <p:cNvPr id="6" name="addin_colorbox" hidden="1">
            <a:extLst>
              <a:ext uri="{FF2B5EF4-FFF2-40B4-BE49-F238E27FC236}">
                <a16:creationId xmlns:a16="http://schemas.microsoft.com/office/drawing/2014/main" id="{A64292E1-2174-4A8D-9287-5FEA6E4789F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7" name="addin_title" hidden="1">
            <a:extLst>
              <a:ext uri="{FF2B5EF4-FFF2-40B4-BE49-F238E27FC236}">
                <a16:creationId xmlns:a16="http://schemas.microsoft.com/office/drawing/2014/main" id="{4F080A77-EF18-4D5F-ADC4-A5F1332051E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154775D-C363-4B2C-BD2F-797D73533B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</a:t>
            </a:r>
          </a:p>
        </p:txBody>
      </p:sp>
      <p:sp>
        <p:nvSpPr>
          <p:cNvPr id="10" name="addin_fillplaceholders" hidden="1">
            <a:extLst>
              <a:ext uri="{FF2B5EF4-FFF2-40B4-BE49-F238E27FC236}">
                <a16:creationId xmlns:a16="http://schemas.microsoft.com/office/drawing/2014/main" id="{66A460D5-BC07-4842-86F8-C13773239F5F}"/>
              </a:ext>
            </a:extLst>
          </p:cNvPr>
          <p:cNvSpPr/>
          <p:nvPr userDrawn="1"/>
        </p:nvSpPr>
        <p:spPr>
          <a:xfrm>
            <a:off x="2509194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2C8DDF8-0DF9-4A8A-82B6-365A17829BE7}"/>
              </a:ext>
            </a:extLst>
          </p:cNvPr>
          <p:cNvSpPr/>
          <p:nvPr userDrawn="1"/>
        </p:nvSpPr>
        <p:spPr>
          <a:xfrm>
            <a:off x="0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96608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(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7B5ADD55-3B0C-4A2F-AFFF-E6D427BC68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B84429B1-1D84-48B3-8EE4-D69125C2715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colorlist" hidden="1">
            <a:extLst>
              <a:ext uri="{FF2B5EF4-FFF2-40B4-BE49-F238E27FC236}">
                <a16:creationId xmlns:a16="http://schemas.microsoft.com/office/drawing/2014/main" id="{229D996D-8B8C-420A-A7E0-2CF498F740A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</a:t>
            </a:r>
          </a:p>
        </p:txBody>
      </p:sp>
      <p:sp>
        <p:nvSpPr>
          <p:cNvPr id="8" name="addin_fillplaceholders" hidden="1">
            <a:extLst>
              <a:ext uri="{FF2B5EF4-FFF2-40B4-BE49-F238E27FC236}">
                <a16:creationId xmlns:a16="http://schemas.microsoft.com/office/drawing/2014/main" id="{919CCCF3-20FD-4C86-A1F8-CF5EEF3BB8AA}"/>
              </a:ext>
            </a:extLst>
          </p:cNvPr>
          <p:cNvSpPr/>
          <p:nvPr userDrawn="1"/>
        </p:nvSpPr>
        <p:spPr>
          <a:xfrm>
            <a:off x="2509194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9" name="addin_text" hidden="1">
            <a:extLst>
              <a:ext uri="{FF2B5EF4-FFF2-40B4-BE49-F238E27FC236}">
                <a16:creationId xmlns:a16="http://schemas.microsoft.com/office/drawing/2014/main" id="{378E84EB-3286-4571-BB84-AE5D50E07CD1}"/>
              </a:ext>
            </a:extLst>
          </p:cNvPr>
          <p:cNvSpPr/>
          <p:nvPr userDrawn="1"/>
        </p:nvSpPr>
        <p:spPr>
          <a:xfrm>
            <a:off x="0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0" name="VM_Subtitle">
            <a:extLst>
              <a:ext uri="{FF2B5EF4-FFF2-40B4-BE49-F238E27FC236}">
                <a16:creationId xmlns:a16="http://schemas.microsoft.com/office/drawing/2014/main" id="{CD421325-99E2-4A06-A2A4-9F37305108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0800" y="4037718"/>
            <a:ext cx="4566701" cy="1034808"/>
          </a:xfrm>
          <a:solidFill>
            <a:srgbClr val="CFE9DE"/>
          </a:solidFill>
        </p:spPr>
        <p:txBody>
          <a:bodyPr lIns="360000" tIns="360000" rIns="360000" bIns="360000" anchor="ctr" anchorCtr="0">
            <a:sp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Teks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8913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overskrift og tekst (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800" y="624763"/>
            <a:ext cx="4566701" cy="5608474"/>
          </a:xfrm>
          <a:solidFill>
            <a:schemeClr val="accent2"/>
          </a:solidFill>
        </p:spPr>
        <p:txBody>
          <a:bodyPr lIns="360000" tIns="514800" rIns="360000" anchor="t"/>
          <a:lstStyle>
            <a:lvl1pPr algn="ctr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6" name="addin_colorbox" hidden="1">
            <a:extLst>
              <a:ext uri="{FF2B5EF4-FFF2-40B4-BE49-F238E27FC236}">
                <a16:creationId xmlns:a16="http://schemas.microsoft.com/office/drawing/2014/main" id="{9723F970-A8E2-4C49-A9CD-AEEA4933F2E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7" name="addin_title" hidden="1">
            <a:extLst>
              <a:ext uri="{FF2B5EF4-FFF2-40B4-BE49-F238E27FC236}">
                <a16:creationId xmlns:a16="http://schemas.microsoft.com/office/drawing/2014/main" id="{9C6C1428-F977-4637-9850-EDBC0C67CE6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8" name="addin_colorlist" hidden="1">
            <a:extLst>
              <a:ext uri="{FF2B5EF4-FFF2-40B4-BE49-F238E27FC236}">
                <a16:creationId xmlns:a16="http://schemas.microsoft.com/office/drawing/2014/main" id="{6DF6E8D4-9449-4F9D-98FC-A96220E6B8C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 </a:t>
            </a:r>
          </a:p>
        </p:txBody>
      </p:sp>
      <p:sp>
        <p:nvSpPr>
          <p:cNvPr id="9" name="addin_fillplaceholders" hidden="1">
            <a:extLst>
              <a:ext uri="{FF2B5EF4-FFF2-40B4-BE49-F238E27FC236}">
                <a16:creationId xmlns:a16="http://schemas.microsoft.com/office/drawing/2014/main" id="{B6939FC3-D2FE-41D8-A962-B9ABAB3A0BA8}"/>
              </a:ext>
            </a:extLst>
          </p:cNvPr>
          <p:cNvSpPr/>
          <p:nvPr userDrawn="1"/>
        </p:nvSpPr>
        <p:spPr>
          <a:xfrm>
            <a:off x="2509194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D61EB33E-2AD5-4643-B297-FF5E348E607B}"/>
              </a:ext>
            </a:extLst>
          </p:cNvPr>
          <p:cNvSpPr/>
          <p:nvPr userDrawn="1"/>
        </p:nvSpPr>
        <p:spPr>
          <a:xfrm>
            <a:off x="0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1" name="VM_Subtitle">
            <a:extLst>
              <a:ext uri="{FF2B5EF4-FFF2-40B4-BE49-F238E27FC236}">
                <a16:creationId xmlns:a16="http://schemas.microsoft.com/office/drawing/2014/main" id="{6F5F9A93-31B7-4BFB-AEA0-099E08562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0800" y="2384437"/>
            <a:ext cx="4566701" cy="3848800"/>
          </a:xfrm>
        </p:spPr>
        <p:txBody>
          <a:bodyPr lIns="360000" tIns="0" rIns="360000" bIns="360000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17944590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M_Title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0262" y="2907972"/>
            <a:ext cx="7991475" cy="1042057"/>
          </a:xfrm>
        </p:spPr>
        <p:txBody>
          <a:bodyPr anchor="ctr"/>
          <a:lstStyle>
            <a:lvl1pPr algn="ctr">
              <a:defRPr sz="3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nb-NO"/>
              <a:t>Tittel eller tema og Sitat, utdrag, uthevet poeng</a:t>
            </a:r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00262" y="1011920"/>
            <a:ext cx="7991475" cy="1042057"/>
          </a:xfrm>
        </p:spPr>
        <p:txBody>
          <a:bodyPr lIns="0" tIns="0" rIns="0" bIns="0" anchor="b">
            <a:normAutofit/>
          </a:bodyPr>
          <a:lstStyle>
            <a:lvl1pPr marL="0" indent="0" algn="ctr">
              <a:buNone/>
              <a:defRPr sz="1800" b="0" cap="all" spc="300" baseline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8A25EAF0-8FCB-4BA4-93C3-EEB388C5F69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1A4DDD2E-5C4D-4B06-9057-545594208E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407A78A5-F0BC-4BA7-B73C-6DA26D6425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712B8231-FC45-417D-9DA2-2C3E7C0F83F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9" name="addin_background" hidden="1">
            <a:extLst>
              <a:ext uri="{FF2B5EF4-FFF2-40B4-BE49-F238E27FC236}">
                <a16:creationId xmlns:a16="http://schemas.microsoft.com/office/drawing/2014/main" id="{708756A3-4A4A-4AB4-B39D-22C223C298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0132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med 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7AAF840-F097-4CB1-ACC5-0FB9EC66BF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blipFill dpi="0" rotWithShape="1">
            <a:blip r:embed="rId2"/>
            <a:srcRect/>
            <a:stretch>
              <a:fillRect b="-1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7E0A0F-1979-4421-98E1-FDD1ED2C67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4772" y="748144"/>
            <a:ext cx="10665228" cy="5353397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VM_Title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0262" y="2907972"/>
            <a:ext cx="7991475" cy="1042057"/>
          </a:xfrm>
        </p:spPr>
        <p:txBody>
          <a:bodyPr anchor="ctr"/>
          <a:lstStyle>
            <a:lvl1pPr algn="ctr">
              <a:defRPr sz="3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nb-NO"/>
              <a:t>Tittel eller tema og Sitat, utdrag, uthevet poeng</a:t>
            </a:r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00262" y="1011920"/>
            <a:ext cx="7991475" cy="1042057"/>
          </a:xfrm>
        </p:spPr>
        <p:txBody>
          <a:bodyPr lIns="0" tIns="0" rIns="0" bIns="0" anchor="b">
            <a:normAutofit/>
          </a:bodyPr>
          <a:lstStyle>
            <a:lvl1pPr marL="0" indent="0" algn="ctr">
              <a:buNone/>
              <a:defRPr sz="1800" b="0" cap="all" spc="300" baseline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7" name="addin_colorlist" hidden="1">
            <a:extLst>
              <a:ext uri="{FF2B5EF4-FFF2-40B4-BE49-F238E27FC236}">
                <a16:creationId xmlns:a16="http://schemas.microsoft.com/office/drawing/2014/main" id="{C78831D7-CE08-4005-AACB-EF97BBBD9D0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900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sitkfor1, sitkfor4</a:t>
            </a:r>
            <a:endParaRPr lang="nb-NO" sz="800"/>
          </a:p>
        </p:txBody>
      </p:sp>
      <p:sp>
        <p:nvSpPr>
          <p:cNvPr id="8" name="addin_colorbox" hidden="1">
            <a:extLst>
              <a:ext uri="{FF2B5EF4-FFF2-40B4-BE49-F238E27FC236}">
                <a16:creationId xmlns:a16="http://schemas.microsoft.com/office/drawing/2014/main" id="{0DF03280-32AE-46A4-B2DF-61EB7EDD73D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9" name="addin_title" hidden="1">
            <a:extLst>
              <a:ext uri="{FF2B5EF4-FFF2-40B4-BE49-F238E27FC236}">
                <a16:creationId xmlns:a16="http://schemas.microsoft.com/office/drawing/2014/main" id="{FB172AD7-2129-468A-9F21-430242F2975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31AA11B6-EEEC-42A3-86BD-04071B6FACF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1" name="addin_image" hidden="1">
            <a:extLst>
              <a:ext uri="{FF2B5EF4-FFF2-40B4-BE49-F238E27FC236}">
                <a16:creationId xmlns:a16="http://schemas.microsoft.com/office/drawing/2014/main" id="{2B9757A9-CFC0-4B3C-B944-EC104E88181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0CAC7E29-3051-4997-A6C1-C6EE989617D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76755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DAF3B-E714-40AA-B6CF-6DFBDC2A3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82407"/>
            <a:ext cx="10515600" cy="823912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A7E4C1-9876-450D-9DD9-9352F7BA1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61F63-3E1A-409E-A8CF-CB6620CB7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BA75B1C8-CA2C-4090-A492-7C26DAC62F3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839788" y="2505075"/>
            <a:ext cx="10515600" cy="3684588"/>
          </a:xfrm>
          <a:prstGeom prst="rect">
            <a:avLst/>
          </a:prstGeom>
        </p:spPr>
        <p:txBody>
          <a:bodyPr lIns="0" tIns="0" rIns="0" bIns="0"/>
          <a:lstStyle/>
          <a:p>
            <a:endParaRPr lang="nb-NO"/>
          </a:p>
        </p:txBody>
      </p:sp>
      <p:sp>
        <p:nvSpPr>
          <p:cNvPr id="10" name="VM_Subtitle">
            <a:extLst>
              <a:ext uri="{FF2B5EF4-FFF2-40B4-BE49-F238E27FC236}">
                <a16:creationId xmlns:a16="http://schemas.microsoft.com/office/drawing/2014/main" id="{BA773654-31E3-486F-89D6-C350CDA38EC6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836612" y="1220553"/>
            <a:ext cx="10515600" cy="823912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spcBef>
                <a:spcPts val="0"/>
              </a:spcBef>
              <a:buNone/>
              <a:defRPr lang="nb-NO" sz="2000" b="0" dirty="0">
                <a:latin typeface="Vinmonopolet Ingress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02259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9FB6CDD-FC61-4DB5-879D-8C3BE7C900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534662"/>
            <a:ext cx="10515600" cy="1077218"/>
          </a:xfrm>
        </p:spPr>
        <p:txBody>
          <a:bodyPr anchor="ctr" anchorCtr="0"/>
          <a:lstStyle>
            <a:lvl1pPr algn="ctr">
              <a:defRPr sz="54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7AF5AEEA-9FFC-4246-82F9-58748FFC579C}"/>
              </a:ext>
            </a:extLst>
          </p:cNvPr>
          <p:cNvSpPr/>
          <p:nvPr userDrawn="1"/>
        </p:nvSpPr>
        <p:spPr>
          <a:xfrm>
            <a:off x="24680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948CABB1-B611-432B-9A0B-7444CA36BBC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addin_logo" hidden="1">
            <a:extLst>
              <a:ext uri="{FF2B5EF4-FFF2-40B4-BE49-F238E27FC236}">
                <a16:creationId xmlns:a16="http://schemas.microsoft.com/office/drawing/2014/main" id="{704CBD70-127A-4C3B-BD87-F5292CF7CA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0A0330F1-B25D-4414-B938-F2BE4FA982A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2EC6DD96-68C4-484A-855B-95971ACC574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08944EB4-E2DB-497C-8C0B-1FF8C37738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6980" y="6057288"/>
            <a:ext cx="2376328" cy="18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3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EEEF3267-57AB-4492-A4BC-08B4C973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0" y="6057288"/>
            <a:ext cx="2377913" cy="180000"/>
          </a:xfrm>
          <a:prstGeom prst="rect">
            <a:avLst/>
          </a:prstGeom>
        </p:spPr>
      </p:pic>
      <p:pic>
        <p:nvPicPr>
          <p:cNvPr id="16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154D2ABE-3817-4045-A854-B336989295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1" y="6057288"/>
            <a:ext cx="237591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33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 sl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_hvit">
            <a:extLst>
              <a:ext uri="{FF2B5EF4-FFF2-40B4-BE49-F238E27FC236}">
                <a16:creationId xmlns:a16="http://schemas.microsoft.com/office/drawing/2014/main" id="{76D81F3A-2743-4801-B46D-201171461F8F}"/>
              </a:ext>
            </a:extLst>
          </p:cNvPr>
          <p:cNvGrpSpPr/>
          <p:nvPr userDrawn="1"/>
        </p:nvGrpSpPr>
        <p:grpSpPr>
          <a:xfrm>
            <a:off x="4159165" y="1400047"/>
            <a:ext cx="3873500" cy="3554038"/>
            <a:chOff x="4159165" y="1400047"/>
            <a:chExt cx="3873500" cy="3554038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0D4F0244-8B0A-4380-98F2-6700E23EB4AB}"/>
                </a:ext>
              </a:extLst>
            </p:cNvPr>
            <p:cNvSpPr/>
            <p:nvPr userDrawn="1"/>
          </p:nvSpPr>
          <p:spPr>
            <a:xfrm>
              <a:off x="4159165" y="1400047"/>
              <a:ext cx="38735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1" name="Bilde 20">
              <a:extLst>
                <a:ext uri="{FF2B5EF4-FFF2-40B4-BE49-F238E27FC236}">
                  <a16:creationId xmlns:a16="http://schemas.microsoft.com/office/drawing/2014/main" id="{00D692A6-A65C-4880-B757-9415DE3C02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7822" y="1647136"/>
              <a:ext cx="3288892" cy="3240167"/>
            </a:xfrm>
            <a:prstGeom prst="rect">
              <a:avLst/>
            </a:prstGeom>
          </p:spPr>
        </p:pic>
      </p:grpSp>
      <p:grpSp>
        <p:nvGrpSpPr>
          <p:cNvPr id="9" name="logo_sort" hidden="1">
            <a:extLst>
              <a:ext uri="{FF2B5EF4-FFF2-40B4-BE49-F238E27FC236}">
                <a16:creationId xmlns:a16="http://schemas.microsoft.com/office/drawing/2014/main" id="{EBFA29AD-C736-468A-B870-7DFFC83C6094}"/>
              </a:ext>
            </a:extLst>
          </p:cNvPr>
          <p:cNvGrpSpPr/>
          <p:nvPr userDrawn="1"/>
        </p:nvGrpSpPr>
        <p:grpSpPr>
          <a:xfrm>
            <a:off x="4159165" y="1400047"/>
            <a:ext cx="3873500" cy="3554038"/>
            <a:chOff x="4159165" y="1400047"/>
            <a:chExt cx="3873500" cy="3554038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147ED2F2-102D-46B6-BFEB-5FF7B88D8F96}"/>
                </a:ext>
              </a:extLst>
            </p:cNvPr>
            <p:cNvSpPr/>
            <p:nvPr userDrawn="1"/>
          </p:nvSpPr>
          <p:spPr>
            <a:xfrm>
              <a:off x="4159165" y="1400047"/>
              <a:ext cx="3873500" cy="3554038"/>
            </a:xfrm>
            <a:prstGeom prst="rect">
              <a:avLst/>
            </a:prstGeom>
            <a:solidFill>
              <a:srgbClr val="CFE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4" name="Bilde 23">
              <a:extLst>
                <a:ext uri="{FF2B5EF4-FFF2-40B4-BE49-F238E27FC236}">
                  <a16:creationId xmlns:a16="http://schemas.microsoft.com/office/drawing/2014/main" id="{129B7675-AFF2-46C1-9142-87E1AF1F67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457821" y="1647136"/>
              <a:ext cx="3288893" cy="3240167"/>
            </a:xfrm>
            <a:prstGeom prst="rect">
              <a:avLst/>
            </a:prstGeom>
          </p:spPr>
        </p:pic>
      </p:grpSp>
      <p:sp>
        <p:nvSpPr>
          <p:cNvPr id="5" name="addin_colorlist" hidden="1">
            <a:extLst>
              <a:ext uri="{FF2B5EF4-FFF2-40B4-BE49-F238E27FC236}">
                <a16:creationId xmlns:a16="http://schemas.microsoft.com/office/drawing/2014/main" id="{7722D185-9935-4700-AFBB-F65C2153A79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6" name="addin_background" hidden="1">
            <a:extLst>
              <a:ext uri="{FF2B5EF4-FFF2-40B4-BE49-F238E27FC236}">
                <a16:creationId xmlns:a16="http://schemas.microsoft.com/office/drawing/2014/main" id="{E0A0150E-B260-464B-B95F-1F17BDC0086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addin_logo" hidden="1">
            <a:extLst>
              <a:ext uri="{FF2B5EF4-FFF2-40B4-BE49-F238E27FC236}">
                <a16:creationId xmlns:a16="http://schemas.microsoft.com/office/drawing/2014/main" id="{9360744D-0217-41DA-91F3-EF07D2B26B0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2A7C8651-1170-4CD3-88AF-5918F9D84B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9B399D9A-FE02-4816-87E4-E993823D46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pic>
        <p:nvPicPr>
          <p:cNvPr id="15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94028686-7AAF-45E2-9091-82F1EE8A84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0" y="6057288"/>
            <a:ext cx="2377913" cy="180000"/>
          </a:xfrm>
          <a:prstGeom prst="rect">
            <a:avLst/>
          </a:prstGeom>
        </p:spPr>
      </p:pic>
      <p:pic>
        <p:nvPicPr>
          <p:cNvPr id="16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D99F5108-FF2D-41FF-92C5-AFA505658A9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1" y="6057288"/>
            <a:ext cx="2375919" cy="180000"/>
          </a:xfrm>
          <a:prstGeom prst="rect">
            <a:avLst/>
          </a:prstGeom>
        </p:spPr>
      </p:pic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CC64303-9B15-463A-ACE8-9E17C31DEB7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916980" y="6057288"/>
            <a:ext cx="2376328" cy="18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97446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 slide #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B2443B-8CAA-4149-9940-1ECA3F90D6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9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nb-NO"/>
              <a:t>Trykk på «Sett inn» fra menyen og velg «Bilde» for å sette inn bilde 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2EE5BDB-1793-4BA1-BFBC-83BD95F12E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4419" y="3152877"/>
            <a:ext cx="5703162" cy="43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5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737C8C5A-A3EF-42EA-843C-DF71CFE3BD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18" y="3152877"/>
            <a:ext cx="5706993" cy="432000"/>
          </a:xfrm>
          <a:prstGeom prst="rect">
            <a:avLst/>
          </a:prstGeom>
        </p:spPr>
      </p:pic>
      <p:pic>
        <p:nvPicPr>
          <p:cNvPr id="6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830BCCC1-A8E5-4E01-B5B5-1AB552762A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18" y="3152877"/>
            <a:ext cx="5702212" cy="432000"/>
          </a:xfrm>
          <a:prstGeom prst="rect">
            <a:avLst/>
          </a:prstGeom>
        </p:spPr>
      </p:pic>
      <p:sp>
        <p:nvSpPr>
          <p:cNvPr id="8" name="addin_colorlist" hidden="1">
            <a:extLst>
              <a:ext uri="{FF2B5EF4-FFF2-40B4-BE49-F238E27FC236}">
                <a16:creationId xmlns:a16="http://schemas.microsoft.com/office/drawing/2014/main" id="{7D03B367-CCB4-4B96-A296-52D1D831726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9" name="addin_background" hidden="1">
            <a:extLst>
              <a:ext uri="{FF2B5EF4-FFF2-40B4-BE49-F238E27FC236}">
                <a16:creationId xmlns:a16="http://schemas.microsoft.com/office/drawing/2014/main" id="{0087BCAE-2FF7-4577-84E1-8AD46769193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0" name="addin_logo" hidden="1">
            <a:extLst>
              <a:ext uri="{FF2B5EF4-FFF2-40B4-BE49-F238E27FC236}">
                <a16:creationId xmlns:a16="http://schemas.microsoft.com/office/drawing/2014/main" id="{AABD5E44-1865-435D-A2D6-A0467819AE3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45281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u/ bakgrunn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AA5DB507-BF6B-45A4-A922-BCF5378D80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Velg «Bilder» under «Sett inn»-fanen </a:t>
            </a:r>
            <a:br>
              <a:rPr lang="nb-NO"/>
            </a:br>
            <a:r>
              <a:rPr lang="nb-NO"/>
              <a:t>for å legge til bakgrunnsbilde</a:t>
            </a: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E7CC6079-E42B-4E09-995A-2C3D078C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8800" y="5662800"/>
            <a:ext cx="1872000" cy="276999"/>
          </a:xfrm>
        </p:spPr>
        <p:txBody>
          <a:bodyPr>
            <a:spAutoFit/>
          </a:bodyPr>
          <a:lstStyle>
            <a:lvl1pPr algn="ctr">
              <a:defRPr spc="40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8CAC5ADE-6F71-4B03-9C15-2AC56BFC1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8133" y="2767282"/>
            <a:ext cx="10735734" cy="1323439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 algn="ctr">
              <a:spcBef>
                <a:spcPts val="0"/>
              </a:spcBef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5C3ECB-5D13-44D8-BE32-5DD7DB456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1864" y="2021235"/>
            <a:ext cx="2160000" cy="3887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73212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924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bilde 27">
            <a:extLst>
              <a:ext uri="{FF2B5EF4-FFF2-40B4-BE49-F238E27FC236}">
                <a16:creationId xmlns:a16="http://schemas.microsoft.com/office/drawing/2014/main" id="{B781951E-9F31-4548-899F-2FE3B5A313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77239 w 12192000"/>
              <a:gd name="connsiteY0" fmla="*/ 748893 h 6858000"/>
              <a:gd name="connsiteX1" fmla="*/ 777239 w 12192000"/>
              <a:gd name="connsiteY1" fmla="*/ 6076705 h 6858000"/>
              <a:gd name="connsiteX2" fmla="*/ 11410949 w 12192000"/>
              <a:gd name="connsiteY2" fmla="*/ 6076705 h 6858000"/>
              <a:gd name="connsiteX3" fmla="*/ 11410949 w 12192000"/>
              <a:gd name="connsiteY3" fmla="*/ 74889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77239" y="748893"/>
                </a:moveTo>
                <a:lnTo>
                  <a:pt x="777239" y="6076705"/>
                </a:lnTo>
                <a:lnTo>
                  <a:pt x="11410949" y="6076705"/>
                </a:lnTo>
                <a:lnTo>
                  <a:pt x="11410949" y="7488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>
                <a:solidFill>
                  <a:schemeClr val="bg1"/>
                </a:solidFill>
              </a:defRPr>
            </a:lvl1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/>
              <a:t>Trykk på «Sett inn» fra menyen og velg «Bilde» for å sette inn bilde </a:t>
            </a:r>
          </a:p>
        </p:txBody>
      </p:sp>
      <p:pic>
        <p:nvPicPr>
          <p:cNvPr id="5" name="Bilde 4" descr="Et bilde som inneholder overvåke, elektronikk, datamaskin, innendørs&#10;&#10;Automatisk generert beskrivelse">
            <a:extLst>
              <a:ext uri="{FF2B5EF4-FFF2-40B4-BE49-F238E27FC236}">
                <a16:creationId xmlns:a16="http://schemas.microsoft.com/office/drawing/2014/main" id="{5E5BC5F6-99DC-4039-8A91-77D71C800C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grpSp>
        <p:nvGrpSpPr>
          <p:cNvPr id="6" name="logo_hvit">
            <a:extLst>
              <a:ext uri="{FF2B5EF4-FFF2-40B4-BE49-F238E27FC236}">
                <a16:creationId xmlns:a16="http://schemas.microsoft.com/office/drawing/2014/main" id="{1D461E68-0750-4388-9699-73CFC807944D}"/>
              </a:ext>
            </a:extLst>
          </p:cNvPr>
          <p:cNvGrpSpPr/>
          <p:nvPr userDrawn="1"/>
        </p:nvGrpSpPr>
        <p:grpSpPr>
          <a:xfrm>
            <a:off x="4447503" y="1193385"/>
            <a:ext cx="3293180" cy="2311815"/>
            <a:chOff x="4447503" y="1193385"/>
            <a:chExt cx="3293180" cy="2311815"/>
          </a:xfrm>
        </p:grpSpPr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A0DC2A83-E3E8-44D4-883B-3756EC7F775B}"/>
                </a:ext>
              </a:extLst>
            </p:cNvPr>
            <p:cNvSpPr/>
            <p:nvPr userDrawn="1"/>
          </p:nvSpPr>
          <p:spPr>
            <a:xfrm>
              <a:off x="4447503" y="1193385"/>
              <a:ext cx="3293180" cy="2311815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1" name="Bilde 20">
              <a:extLst>
                <a:ext uri="{FF2B5EF4-FFF2-40B4-BE49-F238E27FC236}">
                  <a16:creationId xmlns:a16="http://schemas.microsoft.com/office/drawing/2014/main" id="{D38D80C9-0A52-4C0B-BED6-9A5D174B7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997550" y="1255063"/>
              <a:ext cx="2209256" cy="217652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03144" y="3711882"/>
            <a:ext cx="7581901" cy="1200329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r>
              <a:rPr lang="en-US"/>
              <a:t> ell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03143" y="4944615"/>
            <a:ext cx="7581901" cy="720000"/>
          </a:xfrm>
        </p:spPr>
        <p:txBody>
          <a:bodyPr tIns="0" bIns="0">
            <a:noAutofit/>
          </a:bodyPr>
          <a:lstStyle>
            <a:lvl1pPr marL="0" indent="0" algn="ctr">
              <a:buNone/>
              <a:defRPr sz="2000" b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endParaRPr lang="nb-NO"/>
          </a:p>
        </p:txBody>
      </p:sp>
      <p:sp>
        <p:nvSpPr>
          <p:cNvPr id="7" name="addin_colorlist" hidden="1">
            <a:extLst>
              <a:ext uri="{FF2B5EF4-FFF2-40B4-BE49-F238E27FC236}">
                <a16:creationId xmlns:a16="http://schemas.microsoft.com/office/drawing/2014/main" id="{B1E5834D-FFDE-42CA-AFAA-7B6D5B309C8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90068FE4-8ADB-49CC-B5E3-1AF3C51433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DF269432-BF11-47FC-8FBF-38FAF0266933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E2D2F195-98CC-49EA-BBD5-8B1DB583AFD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grpSp>
        <p:nvGrpSpPr>
          <p:cNvPr id="8" name="logo_sort" hidden="1">
            <a:extLst>
              <a:ext uri="{FF2B5EF4-FFF2-40B4-BE49-F238E27FC236}">
                <a16:creationId xmlns:a16="http://schemas.microsoft.com/office/drawing/2014/main" id="{EBF7E129-69A0-4677-BAA5-B9F625C7A5C1}"/>
              </a:ext>
            </a:extLst>
          </p:cNvPr>
          <p:cNvGrpSpPr/>
          <p:nvPr userDrawn="1"/>
        </p:nvGrpSpPr>
        <p:grpSpPr>
          <a:xfrm>
            <a:off x="4186712" y="860028"/>
            <a:ext cx="3814762" cy="2819450"/>
            <a:chOff x="4186712" y="860028"/>
            <a:chExt cx="3814762" cy="2819450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2A2AC0CF-8136-45FF-A853-E98AAAD83DBF}"/>
                </a:ext>
              </a:extLst>
            </p:cNvPr>
            <p:cNvSpPr/>
            <p:nvPr userDrawn="1"/>
          </p:nvSpPr>
          <p:spPr>
            <a:xfrm>
              <a:off x="4186712" y="860028"/>
              <a:ext cx="3814762" cy="2819450"/>
            </a:xfrm>
            <a:prstGeom prst="rect">
              <a:avLst/>
            </a:prstGeom>
            <a:solidFill>
              <a:srgbClr val="D0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8" name="Bilde 17">
              <a:extLst>
                <a:ext uri="{FF2B5EF4-FFF2-40B4-BE49-F238E27FC236}">
                  <a16:creationId xmlns:a16="http://schemas.microsoft.com/office/drawing/2014/main" id="{79ADF078-5906-46E3-ADE9-BEA4D4A4AB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997550" y="1255063"/>
              <a:ext cx="2209256" cy="2176526"/>
            </a:xfrm>
            <a:prstGeom prst="rect">
              <a:avLst/>
            </a:prstGeom>
          </p:spPr>
        </p:pic>
      </p:grp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D690DC94-2E62-42D4-BCC5-4C2AF3163B5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06544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m/ bakgrunn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10">
            <a:extLst>
              <a:ext uri="{FF2B5EF4-FFF2-40B4-BE49-F238E27FC236}">
                <a16:creationId xmlns:a16="http://schemas.microsoft.com/office/drawing/2014/main" id="{AD1D0979-EDEF-BF44-AAC3-FD46CCE19D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EAE2A0A3-E0EB-AE4C-858C-4D8F9319B7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E7CC6079-E42B-4E09-995A-2C3D078C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8800" y="5662800"/>
            <a:ext cx="1872000" cy="276999"/>
          </a:xfrm>
        </p:spPr>
        <p:txBody>
          <a:bodyPr>
            <a:spAutoFit/>
          </a:bodyPr>
          <a:lstStyle>
            <a:lvl1pPr algn="ctr">
              <a:defRPr spc="40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8CAC5ADE-6F71-4B03-9C15-2AC56BFC1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8133" y="2767282"/>
            <a:ext cx="10735734" cy="1323439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 algn="ctr">
              <a:spcBef>
                <a:spcPts val="0"/>
              </a:spcBef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5C3ECB-5D13-44D8-BE32-5DD7DB456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1864" y="2021235"/>
            <a:ext cx="2160000" cy="3887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0719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m/ bakgrunn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00DA54D0-0E1B-4447-876C-0ECA3CCDD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8" r="2520" b="10888"/>
          <a:stretch/>
        </p:blipFill>
        <p:spPr>
          <a:xfrm>
            <a:off x="-736600" y="1"/>
            <a:ext cx="12928599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EAE2A0A3-E0EB-AE4C-858C-4D8F9319B7C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E7CC6079-E42B-4E09-995A-2C3D078C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8800" y="5662800"/>
            <a:ext cx="1872000" cy="276999"/>
          </a:xfrm>
        </p:spPr>
        <p:txBody>
          <a:bodyPr>
            <a:spAutoFit/>
          </a:bodyPr>
          <a:lstStyle>
            <a:lvl1pPr algn="ctr">
              <a:defRPr spc="40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8CAC5ADE-6F71-4B03-9C15-2AC56BFC1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8133" y="2767282"/>
            <a:ext cx="10735734" cy="1323439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 algn="ctr">
              <a:spcBef>
                <a:spcPts val="0"/>
              </a:spcBef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5C3ECB-5D13-44D8-BE32-5DD7DB456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1864" y="2021235"/>
            <a:ext cx="2160000" cy="3887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08298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6144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>
            <a:extLst>
              <a:ext uri="{FF2B5EF4-FFF2-40B4-BE49-F238E27FC236}">
                <a16:creationId xmlns:a16="http://schemas.microsoft.com/office/drawing/2014/main" id="{EC5612B7-DA26-4C03-9941-67F53FDDB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9"/>
            <a:ext cx="12192000" cy="6857381"/>
          </a:xfrm>
          <a:prstGeom prst="rect">
            <a:avLst/>
          </a:prstGeom>
        </p:spPr>
      </p:pic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A5C5AE3F-9A5C-5549-820D-8AA89D71BD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73871" y="2170800"/>
            <a:ext cx="7444800" cy="27699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ctr">
              <a:buNone/>
              <a:defRPr sz="1600" cap="all" spc="40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EFA070A2-7CEA-5842-9DDE-B8440E6A0E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07200" y="2890800"/>
            <a:ext cx="6777567" cy="1077218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601154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logo, lys brun bakgrunn">
    <p:bg>
      <p:bgPr>
        <a:solidFill>
          <a:srgbClr val="EFEF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112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ssholder for bilde 15">
            <a:extLst>
              <a:ext uri="{FF2B5EF4-FFF2-40B4-BE49-F238E27FC236}">
                <a16:creationId xmlns:a16="http://schemas.microsoft.com/office/drawing/2014/main" id="{0BD14FA2-E23A-4B97-9DF0-213DFEBCFB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87451" y="1160744"/>
            <a:ext cx="10633710" cy="5327812"/>
          </a:xfrm>
          <a:custGeom>
            <a:avLst/>
            <a:gdLst>
              <a:gd name="connsiteX0" fmla="*/ 9817099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5327812 h 5327812"/>
              <a:gd name="connsiteX3" fmla="*/ 0 w 10633710"/>
              <a:gd name="connsiteY3" fmla="*/ 5327812 h 5327812"/>
              <a:gd name="connsiteX4" fmla="*/ 0 w 10633710"/>
              <a:gd name="connsiteY4" fmla="*/ 4536512 h 5327812"/>
              <a:gd name="connsiteX5" fmla="*/ 9817099 w 10633710"/>
              <a:gd name="connsiteY5" fmla="*/ 45365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9817099" y="0"/>
                </a:moveTo>
                <a:lnTo>
                  <a:pt x="10633710" y="0"/>
                </a:lnTo>
                <a:lnTo>
                  <a:pt x="10633710" y="5327812"/>
                </a:lnTo>
                <a:lnTo>
                  <a:pt x="0" y="5327812"/>
                </a:lnTo>
                <a:lnTo>
                  <a:pt x="0" y="4536512"/>
                </a:lnTo>
                <a:lnTo>
                  <a:pt x="9817099" y="4536512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272" b="-272"/>
            </a:stretch>
          </a:blipFill>
        </p:spPr>
        <p:txBody>
          <a:bodyPr wrap="square">
            <a:noAutofit/>
          </a:bodyPr>
          <a:lstStyle>
            <a:lvl1pPr>
              <a:buNone/>
              <a:defRPr sz="100">
                <a:solidFill>
                  <a:srgbClr val="010000"/>
                </a:solidFill>
              </a:defRPr>
            </a:lvl1pPr>
          </a:lstStyle>
          <a:p>
            <a:r>
              <a:rPr lang="en-US"/>
              <a:t> </a:t>
            </a:r>
            <a:endParaRPr lang="nb-NO"/>
          </a:p>
        </p:txBody>
      </p:sp>
      <p:sp>
        <p:nvSpPr>
          <p:cNvPr id="7" name="colorbox">
            <a:extLst>
              <a:ext uri="{FF2B5EF4-FFF2-40B4-BE49-F238E27FC236}">
                <a16:creationId xmlns:a16="http://schemas.microsoft.com/office/drawing/2014/main" id="{2A66542B-E0C9-4D13-9742-F87D41EF7F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0839" y="370846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65627" y="1781934"/>
            <a:ext cx="7581901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65626" y="3138494"/>
            <a:ext cx="7581901" cy="120032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addin_colorlist" hidden="1">
            <a:extLst>
              <a:ext uri="{FF2B5EF4-FFF2-40B4-BE49-F238E27FC236}">
                <a16:creationId xmlns:a16="http://schemas.microsoft.com/office/drawing/2014/main" id="{D3439646-FC3F-44C0-BF59-2794D5856F9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B3E5A2-4BBC-46B9-BC18-167043D78E1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FF35936B-7EB0-47C0-B9D5-C1A843B1674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3" name="addin_text" hidden="1">
            <a:extLst>
              <a:ext uri="{FF2B5EF4-FFF2-40B4-BE49-F238E27FC236}">
                <a16:creationId xmlns:a16="http://schemas.microsoft.com/office/drawing/2014/main" id="{45E4EDA5-4D3C-4548-AC47-095964F66B2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073D8A4B-F7B0-4CD4-8FF4-833FE25554C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1" name="addin_grouplist" hidden="1">
            <a:extLst>
              <a:ext uri="{FF2B5EF4-FFF2-40B4-BE49-F238E27FC236}">
                <a16:creationId xmlns:a16="http://schemas.microsoft.com/office/drawing/2014/main" id="{D3ED3F37-CFAE-4295-B946-D7BB490C021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2DC5EEF6-4D9B-4647-A348-6EE427F7790D}"/>
              </a:ext>
            </a:extLst>
          </p:cNvPr>
          <p:cNvSpPr/>
          <p:nvPr userDrawn="1"/>
        </p:nvSpPr>
        <p:spPr>
          <a:xfrm>
            <a:off x="1751349" y="-739246"/>
            <a:ext cx="558000" cy="558000"/>
          </a:xfrm>
          <a:prstGeom prst="rect">
            <a:avLst/>
          </a:prstGeom>
          <a:solidFill>
            <a:srgbClr val="6E1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C2CF4BC-62A6-40E3-B61D-43A117B1D4E3}"/>
              </a:ext>
            </a:extLst>
          </p:cNvPr>
          <p:cNvSpPr/>
          <p:nvPr userDrawn="1"/>
        </p:nvSpPr>
        <p:spPr>
          <a:xfrm>
            <a:off x="1605847" y="-885366"/>
            <a:ext cx="558000" cy="558000"/>
          </a:xfrm>
          <a:prstGeom prst="rect">
            <a:avLst/>
          </a:prstGeom>
          <a:solidFill>
            <a:srgbClr val="F0C3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600">
                <a:solidFill>
                  <a:srgbClr val="66050A"/>
                </a:solidFill>
                <a:latin typeface="+mj-lt"/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3623482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ssholder for bilde 17">
            <a:extLst>
              <a:ext uri="{FF2B5EF4-FFF2-40B4-BE49-F238E27FC236}">
                <a16:creationId xmlns:a16="http://schemas.microsoft.com/office/drawing/2014/main" id="{ECFEBB9D-94A9-4B74-90C8-2A2F74BA71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>
          <a:xfrm>
            <a:off x="370840" y="369444"/>
            <a:ext cx="10633710" cy="5327812"/>
          </a:xfrm>
          <a:custGeom>
            <a:avLst/>
            <a:gdLst>
              <a:gd name="connsiteX0" fmla="*/ 0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791300 h 5327812"/>
              <a:gd name="connsiteX3" fmla="*/ 816610 w 10633710"/>
              <a:gd name="connsiteY3" fmla="*/ 791300 h 5327812"/>
              <a:gd name="connsiteX4" fmla="*/ 816610 w 10633710"/>
              <a:gd name="connsiteY4" fmla="*/ 5327812 h 5327812"/>
              <a:gd name="connsiteX5" fmla="*/ 0 w 10633710"/>
              <a:gd name="connsiteY5" fmla="*/ 53278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0" y="0"/>
                </a:moveTo>
                <a:lnTo>
                  <a:pt x="10633710" y="0"/>
                </a:lnTo>
                <a:lnTo>
                  <a:pt x="10633710" y="791300"/>
                </a:lnTo>
                <a:lnTo>
                  <a:pt x="816610" y="791300"/>
                </a:lnTo>
                <a:lnTo>
                  <a:pt x="816610" y="5327812"/>
                </a:lnTo>
                <a:lnTo>
                  <a:pt x="0" y="5327812"/>
                </a:lnTo>
                <a:close/>
              </a:path>
            </a:pathLst>
          </a:custGeom>
          <a:blipFill>
            <a:blip r:embed="rId3"/>
            <a:stretch>
              <a:fillRect t="-509" b="-509"/>
            </a:stretch>
          </a:blipFill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square">
            <a:noAutofit/>
          </a:bodyPr>
          <a:lstStyle>
            <a:lvl1pPr>
              <a:defRPr sz="3200">
                <a:effectLst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5" name="colorbox">
            <a:extLst>
              <a:ext uri="{FF2B5EF4-FFF2-40B4-BE49-F238E27FC236}">
                <a16:creationId xmlns:a16="http://schemas.microsoft.com/office/drawing/2014/main" id="{961D4E0D-11F1-4D8E-8E84-64467994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7450" y="1155744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66949" y="2553459"/>
            <a:ext cx="7581901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66948" y="3910019"/>
            <a:ext cx="7581901" cy="120032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addin_colorbox" hidden="1">
            <a:extLst>
              <a:ext uri="{FF2B5EF4-FFF2-40B4-BE49-F238E27FC236}">
                <a16:creationId xmlns:a16="http://schemas.microsoft.com/office/drawing/2014/main" id="{66EB31BB-D642-4B92-9DE3-F49EB209B2C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43E3033-FBB7-4620-9CF3-0842B6DDDAE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52AA026A-7FBB-4D3D-9F4F-7D9BC9D777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96EE763E-D0DF-4231-BC1D-14DE4B1DD411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60D7069D-E3FA-4660-9955-4E70E9D3497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4112378-605A-4D47-B161-F66CAFAC63B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000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ed 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12">
            <a:extLst>
              <a:ext uri="{FF2B5EF4-FFF2-40B4-BE49-F238E27FC236}">
                <a16:creationId xmlns:a16="http://schemas.microsoft.com/office/drawing/2014/main" id="{D5DF7CD0-05F6-43F1-AACD-64405CD0DDA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87450" y="1160744"/>
            <a:ext cx="10633710" cy="5327812"/>
          </a:xfrm>
          <a:custGeom>
            <a:avLst/>
            <a:gdLst>
              <a:gd name="connsiteX0" fmla="*/ 9817099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5327812 h 5327812"/>
              <a:gd name="connsiteX3" fmla="*/ 0 w 10633710"/>
              <a:gd name="connsiteY3" fmla="*/ 5327812 h 5327812"/>
              <a:gd name="connsiteX4" fmla="*/ 0 w 10633710"/>
              <a:gd name="connsiteY4" fmla="*/ 4536512 h 5327812"/>
              <a:gd name="connsiteX5" fmla="*/ 9817099 w 10633710"/>
              <a:gd name="connsiteY5" fmla="*/ 45365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9817099" y="0"/>
                </a:moveTo>
                <a:lnTo>
                  <a:pt x="10633710" y="0"/>
                </a:lnTo>
                <a:lnTo>
                  <a:pt x="10633710" y="5327812"/>
                </a:lnTo>
                <a:lnTo>
                  <a:pt x="0" y="5327812"/>
                </a:lnTo>
                <a:lnTo>
                  <a:pt x="0" y="4536512"/>
                </a:lnTo>
                <a:lnTo>
                  <a:pt x="9817099" y="4536512"/>
                </a:lnTo>
                <a:close/>
              </a:path>
            </a:pathLst>
          </a:custGeom>
          <a:blipFill>
            <a:blip r:embed="rId2"/>
            <a:stretch>
              <a:fillRect t="-509" b="-509"/>
            </a:stretch>
          </a:blipFill>
        </p:spPr>
        <p:txBody>
          <a:bodyPr wrap="square">
            <a:noAutofit/>
          </a:bodyPr>
          <a:lstStyle>
            <a:lvl1pPr>
              <a:buNone/>
              <a:defRPr sz="100">
                <a:solidFill>
                  <a:srgbClr val="010000"/>
                </a:solidFill>
              </a:defRPr>
            </a:lvl1pPr>
          </a:lstStyle>
          <a:p>
            <a:r>
              <a:rPr lang="en-US"/>
              <a:t> 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274B25-4F08-4647-B26F-8F7A227C89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46" y="370846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2913" y="2228671"/>
            <a:ext cx="5505723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2911" y="3585231"/>
            <a:ext cx="5505723" cy="1200329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F33C46-7FC5-465A-9D6F-ED09A493B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6548" y="386045"/>
            <a:ext cx="3057525" cy="51511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35000" b="0">
                <a:solidFill>
                  <a:schemeClr val="tx1"/>
                </a:solidFill>
                <a:latin typeface="Vinmonopolet Tittel Bold" panose="00000800000000000000" pitchFamily="50" charset="0"/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5C27E07-19FA-4DE2-A494-84125D0A7E9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2E192117-6775-45EE-86A5-606E759A25E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DDA15EF8-3D99-4CC4-973E-C3DC291529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46610C1D-11E7-4D71-A577-6B6318C68C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2F725052-0819-4448-8ED5-739E07113B4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2" name="addin_grouplist" hidden="1">
            <a:extLst>
              <a:ext uri="{FF2B5EF4-FFF2-40B4-BE49-F238E27FC236}">
                <a16:creationId xmlns:a16="http://schemas.microsoft.com/office/drawing/2014/main" id="{B9E35A68-7631-4973-A1A9-F00536D2B90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8846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ed N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bilde 17">
            <a:extLst>
              <a:ext uri="{FF2B5EF4-FFF2-40B4-BE49-F238E27FC236}">
                <a16:creationId xmlns:a16="http://schemas.microsoft.com/office/drawing/2014/main" id="{36082275-3DDF-4855-8E9A-1B4A560011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0840" y="369443"/>
            <a:ext cx="10633710" cy="5327812"/>
          </a:xfrm>
          <a:custGeom>
            <a:avLst/>
            <a:gdLst>
              <a:gd name="connsiteX0" fmla="*/ 0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791300 h 5327812"/>
              <a:gd name="connsiteX3" fmla="*/ 816610 w 10633710"/>
              <a:gd name="connsiteY3" fmla="*/ 791300 h 5327812"/>
              <a:gd name="connsiteX4" fmla="*/ 816610 w 10633710"/>
              <a:gd name="connsiteY4" fmla="*/ 5327812 h 5327812"/>
              <a:gd name="connsiteX5" fmla="*/ 0 w 10633710"/>
              <a:gd name="connsiteY5" fmla="*/ 53278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0" y="0"/>
                </a:moveTo>
                <a:lnTo>
                  <a:pt x="10633710" y="0"/>
                </a:lnTo>
                <a:lnTo>
                  <a:pt x="10633710" y="791300"/>
                </a:lnTo>
                <a:lnTo>
                  <a:pt x="816610" y="791300"/>
                </a:lnTo>
                <a:lnTo>
                  <a:pt x="816610" y="5327812"/>
                </a:lnTo>
                <a:lnTo>
                  <a:pt x="0" y="5327812"/>
                </a:lnTo>
                <a:close/>
              </a:path>
            </a:pathLst>
          </a:custGeom>
          <a:blipFill>
            <a:blip r:embed="rId2"/>
            <a:stretch>
              <a:fillRect t="-509" b="-509"/>
            </a:stretch>
          </a:blipFill>
        </p:spPr>
        <p:txBody>
          <a:bodyPr wrap="square">
            <a:noAutofit/>
          </a:bodyPr>
          <a:lstStyle>
            <a:lvl1pPr>
              <a:defRPr sz="320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1BD0803-870C-4DEA-A035-EB48EADA2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87450" y="1155744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53577" y="3006123"/>
            <a:ext cx="5050973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53577" y="4362683"/>
            <a:ext cx="5050974" cy="1200329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F33C46-7FC5-465A-9D6F-ED09A493B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5800" y="1160745"/>
            <a:ext cx="3057525" cy="51511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35000" b="0">
                <a:solidFill>
                  <a:schemeClr val="tx1"/>
                </a:solidFill>
                <a:latin typeface="Vinmonopolet Tittel Bold" panose="00000800000000000000" pitchFamily="50" charset="0"/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B6C9E0E6-A43F-4DC3-8A1A-10BBF19A5F7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A743FA5F-CD73-4275-9298-CEC55D8B05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99B8D9FC-53A5-40E2-B2F6-40F218B1D97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FB909FC2-28A2-4F41-8901-C62870D41BD1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57E6A85-5F3B-453F-9B6C-5A962EBE5D8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C3CB0CE-7418-40B6-9B91-88871F57E0C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121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BDAE3D-719B-4523-A19B-AE7C9A1C1B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8200" y="1944686"/>
            <a:ext cx="10515600" cy="4291736"/>
          </a:xfr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8178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4B4FF01-E082-456B-935D-06D5365BDF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667" y="1944686"/>
            <a:ext cx="5034133" cy="4291736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F5F3FB1-AFA0-4E9A-B5AC-1FC7698730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1" y="1944686"/>
            <a:ext cx="5011057" cy="4291736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0502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15.emf"/><Relationship Id="rId5" Type="http://schemas.openxmlformats.org/officeDocument/2006/relationships/slideLayout" Target="../slideLayouts/slideLayout33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05B82C-FB53-4E20-9E6A-8C61CE970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14410"/>
            <a:ext cx="10515600" cy="1077218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br>
              <a:rPr lang="en-US"/>
            </a:b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Text Placeholder 2" hidden="1">
            <a:extLst>
              <a:ext uri="{FF2B5EF4-FFF2-40B4-BE49-F238E27FC236}">
                <a16:creationId xmlns:a16="http://schemas.microsoft.com/office/drawing/2014/main" id="{256CD093-ACF8-4473-9FEF-F94169B79B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44686"/>
            <a:ext cx="10515600" cy="42917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27F6A2-7A26-47F0-8A52-8AA68EB4C7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199" y="6401593"/>
            <a:ext cx="4005263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BFE1BF-8511-4659-8431-5270D09EDD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7640" y="6401593"/>
            <a:ext cx="3567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3EC6D5FC-EFD0-4B04-A9C2-43698421441F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9945006" y="6518979"/>
            <a:ext cx="1425789" cy="108000"/>
          </a:xfrm>
          <a:prstGeom prst="rect">
            <a:avLst/>
          </a:prstGeom>
        </p:spPr>
      </p:pic>
      <p:sp>
        <p:nvSpPr>
          <p:cNvPr id="7" name="addin_colorpicker" hidden="1">
            <a:extLst>
              <a:ext uri="{FF2B5EF4-FFF2-40B4-BE49-F238E27FC236}">
                <a16:creationId xmlns:a16="http://schemas.microsoft.com/office/drawing/2014/main" id="{DE663DD0-D518-495A-9F8E-588902914255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FECF0-E251-D445-0AA1-615A2251449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7302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77543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6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220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5D63EAF-6218-4E87-8BD8-D27B41F9E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5" progId="TCLayout.ActiveDocument.1">
                  <p:embed/>
                </p:oleObj>
              </mc:Choice>
              <mc:Fallback>
                <p:oleObj name="think-cell Slide" r:id="rId10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5D63EAF-6218-4E87-8BD8-D27B41F9E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54319CE-25EB-4972-892D-F2CF74C3FFF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F64283A-0229-42A0-8016-1494D503F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60AC7E6-7115-4575-93BE-D29139243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EA9D664-687B-4032-B4F5-D6C86C06CC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AF53-D7B5-467D-A95B-5453D74169F6}" type="datetimeFigureOut">
              <a:rPr lang="nb-NO" smtClean="0"/>
              <a:t>16.12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B61CC7B-5C1D-42CC-8D28-75CD1FC323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35934F1-D1F8-402D-8E31-49B176006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74174-18D1-4B64-9882-32A948F05EB5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B9114E-A435-F050-9E2C-5A66D897688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7302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Only</a:t>
            </a:r>
          </a:p>
        </p:txBody>
      </p:sp>
    </p:spTree>
    <p:extLst>
      <p:ext uri="{BB962C8B-B14F-4D97-AF65-F5344CB8AC3E}">
        <p14:creationId xmlns:p14="http://schemas.microsoft.com/office/powerpoint/2010/main" val="263028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3" r:id="rId5"/>
    <p:sldLayoutId id="214748368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vmp.sharepoint.com/:x:/r/sites/Prosjektportal/Delte%20dokumenter/02%20Maler/Gevinstplan%20og%20business%20case.xlsm?d=wf88b5684d7a7431d8789e7625bb3d011&amp;csf=1&amp;e=n8HGK7" TargetMode="Externa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vmp.sharepoint.com/:x:/r/sites/Prosjektportal/Delte%20dokumenter/02%20Maler/Gevinstplan%20og%20business%20case.xlsm?d=wf88b5684d7a7431d8789e7625bb3d011&amp;csf=1&amp;e=sekVbk" TargetMode="Externa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25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490D5-F83A-4091-92DB-A2045F7789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001491"/>
            <a:ext cx="9144000" cy="577642"/>
          </a:xfrm>
        </p:spPr>
        <p:txBody>
          <a:bodyPr/>
          <a:lstStyle/>
          <a:p>
            <a:pPr algn="l">
              <a:spcBef>
                <a:spcPts val="0"/>
              </a:spcBef>
              <a:defRPr/>
            </a:pPr>
            <a:r>
              <a:rPr lang="nb-NO" sz="18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{{</a:t>
            </a:r>
            <a:r>
              <a:rPr lang="nb-NO" sz="1800" dirty="0" err="1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List:</a:t>
            </a:r>
            <a:r>
              <a:rPr lang="nb-NO" sz="1800" dirty="0" err="1">
                <a:solidFill>
                  <a:schemeClr val="bg1"/>
                </a:solidFill>
                <a:latin typeface="+mn-lt"/>
              </a:rPr>
              <a:t>Prosjektegenskaper</a:t>
            </a:r>
            <a:r>
              <a:rPr lang="nb-NO" sz="1800" dirty="0" err="1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;Fields:</a:t>
            </a:r>
            <a:r>
              <a:rPr lang="nb-NO" sz="1800" dirty="0" err="1">
                <a:solidFill>
                  <a:schemeClr val="bg1"/>
                </a:solidFill>
                <a:latin typeface="+mn-lt"/>
              </a:rPr>
              <a:t>Title</a:t>
            </a:r>
            <a:r>
              <a:rPr lang="nb-NO" sz="18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}}</a:t>
            </a:r>
            <a:endParaRPr lang="nb-NO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F22D1D-8400-4164-B030-381870A155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buClr>
                <a:srgbClr val="D0EADE"/>
              </a:buClr>
            </a:pPr>
            <a:r>
              <a:rPr lang="nb-NO" dirty="0">
                <a:solidFill>
                  <a:srgbClr val="D0EADE"/>
                </a:solidFill>
                <a:latin typeface="Vinmonopolet Ingress Medium"/>
              </a:rPr>
              <a:t>{{</a:t>
            </a:r>
            <a:r>
              <a:rPr lang="nb-NO" dirty="0" err="1">
                <a:solidFill>
                  <a:srgbClr val="D0EADE"/>
                </a:solidFill>
                <a:latin typeface="Vinmonopolet Ingress Medium"/>
              </a:rPr>
              <a:t>Today</a:t>
            </a:r>
            <a:r>
              <a:rPr lang="nb-NO" dirty="0">
                <a:solidFill>
                  <a:srgbClr val="D0EADE"/>
                </a:solidFill>
                <a:latin typeface="Vinmonopolet Ingress Medium"/>
              </a:rPr>
              <a:t>}}</a:t>
            </a:r>
            <a:endParaRPr lang="nb-NO" dirty="0">
              <a:solidFill>
                <a:srgbClr val="D0EADE"/>
              </a:solidFill>
            </a:endParaRPr>
          </a:p>
        </p:txBody>
      </p:sp>
      <p:grpSp>
        <p:nvGrpSpPr>
          <p:cNvPr id="7" name="logo_">
            <a:extLst>
              <a:ext uri="{FF2B5EF4-FFF2-40B4-BE49-F238E27FC236}">
                <a16:creationId xmlns:a16="http://schemas.microsoft.com/office/drawing/2014/main" id="{85A6440B-D9E6-47A8-BC7F-DCD5C159FFD1}"/>
              </a:ext>
            </a:extLst>
          </p:cNvPr>
          <p:cNvGrpSpPr/>
          <p:nvPr/>
        </p:nvGrpSpPr>
        <p:grpSpPr>
          <a:xfrm>
            <a:off x="4000500" y="712253"/>
            <a:ext cx="4165600" cy="3554038"/>
            <a:chOff x="4000500" y="712253"/>
            <a:chExt cx="4165600" cy="355403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C822A959-1E38-4690-9FA6-CDC91C1775FF}"/>
                </a:ext>
              </a:extLst>
            </p:cNvPr>
            <p:cNvSpPr/>
            <p:nvPr userDrawn="1"/>
          </p:nvSpPr>
          <p:spPr>
            <a:xfrm>
              <a:off x="4000500" y="712253"/>
              <a:ext cx="41656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" name="Bilde 8">
              <a:extLst>
                <a:ext uri="{FF2B5EF4-FFF2-40B4-BE49-F238E27FC236}">
                  <a16:creationId xmlns:a16="http://schemas.microsoft.com/office/drawing/2014/main" id="{029CCF38-998F-4807-8924-505848E98F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1554" y="1026124"/>
              <a:ext cx="3288892" cy="3240167"/>
            </a:xfrm>
            <a:prstGeom prst="rect">
              <a:avLst/>
            </a:prstGeom>
          </p:spPr>
        </p:pic>
      </p:grpSp>
      <p:sp>
        <p:nvSpPr>
          <p:cNvPr id="10" name="Rektangel 9">
            <a:extLst>
              <a:ext uri="{FF2B5EF4-FFF2-40B4-BE49-F238E27FC236}">
                <a16:creationId xmlns:a16="http://schemas.microsoft.com/office/drawing/2014/main" id="{3F081556-8397-4B1A-B1F3-FB6C6787007F}"/>
              </a:ext>
            </a:extLst>
          </p:cNvPr>
          <p:cNvSpPr/>
          <p:nvPr/>
        </p:nvSpPr>
        <p:spPr>
          <a:xfrm>
            <a:off x="8020050" y="163429"/>
            <a:ext cx="3984518" cy="1903496"/>
          </a:xfrm>
          <a:prstGeom prst="rect">
            <a:avLst/>
          </a:prstGeom>
          <a:solidFill>
            <a:schemeClr val="lt1">
              <a:alpha val="67000"/>
            </a:schemeClr>
          </a:solidFill>
          <a:ln w="19050"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Styringsdokumentet definerer prosjektet </a:t>
            </a:r>
          </a:p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Malen henter mye fra prosjektforslaget men i styringsdokumentet forventes større detaljering og konkretisering </a:t>
            </a:r>
          </a:p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Et viktig beslutningsunderlag for om prosjektet skal gjennomføres</a:t>
            </a:r>
          </a:p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Et levende dokument som skal gjenspeile nåværende status, men versjonen som ble brukt ved BP3 beholdes som et grunnlag som prosjektet senere vurderes opp mot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7CE5EFF5-9115-091B-A0C5-DC01EDAD69C0}"/>
              </a:ext>
            </a:extLst>
          </p:cNvPr>
          <p:cNvSpPr txBox="1"/>
          <p:nvPr/>
        </p:nvSpPr>
        <p:spPr>
          <a:xfrm>
            <a:off x="1524000" y="444922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rgbClr val="D0EADE"/>
                </a:solidFill>
              </a:rPr>
              <a:t>Styringsdokument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4081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91">
            <a:extLst>
              <a:ext uri="{FF2B5EF4-FFF2-40B4-BE49-F238E27FC236}">
                <a16:creationId xmlns:a16="http://schemas.microsoft.com/office/drawing/2014/main" id="{0185D769-B042-4FF9-B44E-7AF0BD3953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37304"/>
              </p:ext>
            </p:extLst>
          </p:nvPr>
        </p:nvGraphicFramePr>
        <p:xfrm>
          <a:off x="4345663" y="3354761"/>
          <a:ext cx="7484493" cy="2728842"/>
        </p:xfrm>
        <a:graphic>
          <a:graphicData uri="http://schemas.openxmlformats.org/drawingml/2006/table">
            <a:tbl>
              <a:tblPr/>
              <a:tblGrid>
                <a:gridCol w="2383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6156">
                  <a:extLst>
                    <a:ext uri="{9D8B030D-6E8A-4147-A177-3AD203B41FA5}">
                      <a16:colId xmlns:a16="http://schemas.microsoft.com/office/drawing/2014/main" val="45461371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4088014078"/>
                    </a:ext>
                  </a:extLst>
                </a:gridCol>
                <a:gridCol w="540751">
                  <a:extLst>
                    <a:ext uri="{9D8B030D-6E8A-4147-A177-3AD203B41FA5}">
                      <a16:colId xmlns:a16="http://schemas.microsoft.com/office/drawing/2014/main" val="1488424830"/>
                    </a:ext>
                  </a:extLst>
                </a:gridCol>
              </a:tblGrid>
              <a:tr h="4733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sjektgruppe</a:t>
                      </a:r>
                    </a:p>
                  </a:txBody>
                  <a:tcPr marL="90000" marR="90000" marT="46800" marB="46800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nsvar i prosjektet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se 1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se 2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se 3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67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une Øverby (Aud- Tone, Yvonne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ina Hallenber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ig Sætre Jørpelan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Jane Merete Bjørnhol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is Renate Liljevol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John Ing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nn Kristin H. Bakke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utikkutvikli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nsikt – kunde og medarbeid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nalyse økonomi, salgsutvikling og ansvarlig sal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utikksjef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striktsjef</a:t>
                      </a:r>
                      <a:endParaRPr kumimoji="0" lang="nb-NO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T og leverandør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ategor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Group 90">
            <a:extLst>
              <a:ext uri="{FF2B5EF4-FFF2-40B4-BE49-F238E27FC236}">
                <a16:creationId xmlns:a16="http://schemas.microsoft.com/office/drawing/2014/main" id="{7D669E86-496E-4734-AFB3-143261E22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346921"/>
              </p:ext>
            </p:extLst>
          </p:nvPr>
        </p:nvGraphicFramePr>
        <p:xfrm>
          <a:off x="4372081" y="1386460"/>
          <a:ext cx="4112626" cy="1221416"/>
        </p:xfrm>
        <a:graphic>
          <a:graphicData uri="http://schemas.openxmlformats.org/drawingml/2006/table">
            <a:tbl>
              <a:tblPr/>
              <a:tblGrid>
                <a:gridCol w="4112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55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yringsgruppe</a:t>
                      </a:r>
                    </a:p>
                  </a:txBody>
                  <a:tcPr marL="90000" marR="90000" marT="46814" marB="46814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4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a Frid Andrese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ir </a:t>
                      </a:r>
                      <a:r>
                        <a:rPr kumimoji="0" lang="nb-NO" sz="10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oseter</a:t>
                      </a: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ars Thorenfeld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34" marB="4573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Group 62">
            <a:extLst>
              <a:ext uri="{FF2B5EF4-FFF2-40B4-BE49-F238E27FC236}">
                <a16:creationId xmlns:a16="http://schemas.microsoft.com/office/drawing/2014/main" id="{D5B07C27-B836-46F8-B40C-6FD875CC1D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393536"/>
              </p:ext>
            </p:extLst>
          </p:nvPr>
        </p:nvGraphicFramePr>
        <p:xfrm>
          <a:off x="4372081" y="2574282"/>
          <a:ext cx="4112626" cy="658309"/>
        </p:xfrm>
        <a:graphic>
          <a:graphicData uri="http://schemas.openxmlformats.org/drawingml/2006/table">
            <a:tbl>
              <a:tblPr/>
              <a:tblGrid>
                <a:gridCol w="3387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5267">
                  <a:extLst>
                    <a:ext uri="{9D8B030D-6E8A-4147-A177-3AD203B41FA5}">
                      <a16:colId xmlns:a16="http://schemas.microsoft.com/office/drawing/2014/main" val="1084144673"/>
                    </a:ext>
                  </a:extLst>
                </a:gridCol>
              </a:tblGrid>
              <a:tr h="3404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Prosjektleder</a:t>
                      </a:r>
                    </a:p>
                  </a:txBody>
                  <a:tcPr marL="90000" marR="90000" marT="46855" marB="4685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</a:t>
                      </a:r>
                    </a:p>
                  </a:txBody>
                  <a:tcPr marL="90000" marR="90000" marT="46855" marB="46855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8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gne Nafstad Hertzenberg</a:t>
                      </a:r>
                    </a:p>
                  </a:txBody>
                  <a:tcPr marT="45774" marB="4577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%</a:t>
                      </a:r>
                    </a:p>
                  </a:txBody>
                  <a:tcPr marT="45774" marB="4577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Group 62">
            <a:extLst>
              <a:ext uri="{FF2B5EF4-FFF2-40B4-BE49-F238E27FC236}">
                <a16:creationId xmlns:a16="http://schemas.microsoft.com/office/drawing/2014/main" id="{D0EC760F-2997-4771-91A5-5D2DB099C0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866447"/>
              </p:ext>
            </p:extLst>
          </p:nvPr>
        </p:nvGraphicFramePr>
        <p:xfrm>
          <a:off x="8610600" y="730441"/>
          <a:ext cx="3219556" cy="533849"/>
        </p:xfrm>
        <a:graphic>
          <a:graphicData uri="http://schemas.openxmlformats.org/drawingml/2006/table">
            <a:tbl>
              <a:tblPr/>
              <a:tblGrid>
                <a:gridCol w="32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Gevinsteier:</a:t>
                      </a:r>
                    </a:p>
                  </a:txBody>
                  <a:tcPr marL="90000" marR="90000" marT="46855" marB="4685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8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a Frid Andresen</a:t>
                      </a:r>
                    </a:p>
                  </a:txBody>
                  <a:tcPr marT="45774" marB="4577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1" name="Group 62">
            <a:extLst>
              <a:ext uri="{FF2B5EF4-FFF2-40B4-BE49-F238E27FC236}">
                <a16:creationId xmlns:a16="http://schemas.microsoft.com/office/drawing/2014/main" id="{D8E20100-4C2B-48D8-9D3A-25AFFB814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290022"/>
              </p:ext>
            </p:extLst>
          </p:nvPr>
        </p:nvGraphicFramePr>
        <p:xfrm>
          <a:off x="4374257" y="724540"/>
          <a:ext cx="4110452" cy="539750"/>
        </p:xfrm>
        <a:graphic>
          <a:graphicData uri="http://schemas.openxmlformats.org/drawingml/2006/table">
            <a:tbl>
              <a:tblPr/>
              <a:tblGrid>
                <a:gridCol w="4110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56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sjekteier:</a:t>
                      </a:r>
                    </a:p>
                  </a:txBody>
                  <a:tcPr marL="90000" marR="90000" marT="46855" marB="4685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1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a Frid Andresen</a:t>
                      </a:r>
                    </a:p>
                  </a:txBody>
                  <a:tcPr marT="45774" marB="4577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8" name="Group 94">
            <a:extLst>
              <a:ext uri="{FF2B5EF4-FFF2-40B4-BE49-F238E27FC236}">
                <a16:creationId xmlns:a16="http://schemas.microsoft.com/office/drawing/2014/main" id="{854E9AC1-1D87-481A-A0D5-7BACA238B9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363750"/>
              </p:ext>
            </p:extLst>
          </p:nvPr>
        </p:nvGraphicFramePr>
        <p:xfrm>
          <a:off x="8610599" y="1386460"/>
          <a:ext cx="3219557" cy="1830891"/>
        </p:xfrm>
        <a:graphic>
          <a:graphicData uri="http://schemas.openxmlformats.org/drawingml/2006/table">
            <a:tbl>
              <a:tblPr/>
              <a:tblGrid>
                <a:gridCol w="3219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eferansegruppe</a:t>
                      </a:r>
                    </a:p>
                  </a:txBody>
                  <a:tcPr marL="90000" marR="90000" marT="46835" marB="4683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47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54" marB="4575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F0D3AF00-AC04-4E02-B5DD-3D71EF56F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5" y="715079"/>
            <a:ext cx="3762481" cy="1077218"/>
          </a:xfrm>
        </p:spPr>
        <p:txBody>
          <a:bodyPr/>
          <a:lstStyle/>
          <a:p>
            <a:r>
              <a:rPr lang="nb-NO"/>
              <a:t>Prosjekt-organisasjonen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BEB41BAC-3122-40CC-BC85-4BDEA8048D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883" y="2136143"/>
            <a:ext cx="3313320" cy="278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9397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308DD9E-1689-425F-BE98-2EEB217C6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remdrifts- og milepælspla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1A5F8C2-3795-46B6-B9A5-BA9EFDF8184B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Legg inn milepæler for fase- og leveransebeslutninger og øvrige milepæler, samt planlagte aktiviteter.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6E9CD38-37D5-4B9C-8B3C-258B03290712}"/>
              </a:ext>
            </a:extLst>
          </p:cNvPr>
          <p:cNvSpPr/>
          <p:nvPr/>
        </p:nvSpPr>
        <p:spPr>
          <a:xfrm>
            <a:off x="10030408" y="144379"/>
            <a:ext cx="2009192" cy="117959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rgbClr val="000000"/>
                </a:solidFill>
                <a:latin typeface="Georgia"/>
              </a:rPr>
              <a:t>Kopier fra fremdriftsplanen i Corporater</a:t>
            </a:r>
          </a:p>
        </p:txBody>
      </p:sp>
    </p:spTree>
    <p:extLst>
      <p:ext uri="{BB962C8B-B14F-4D97-AF65-F5344CB8AC3E}">
        <p14:creationId xmlns:p14="http://schemas.microsoft.com/office/powerpoint/2010/main" val="101684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EBDEEE7-1CAA-4DDC-B6A0-D661FBE7A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styring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B678717-8306-4748-AF7C-EB85EE9B4714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/>
              <a:t>&lt;Beskriv hvordan prosjektet skal styres, herunder:</a:t>
            </a:r>
          </a:p>
          <a:p>
            <a:r>
              <a:rPr lang="nb-NO" sz="1800"/>
              <a:t>Frekvens for og når avholdes styringsgruppemøter</a:t>
            </a:r>
          </a:p>
          <a:p>
            <a:r>
              <a:rPr lang="nb-NO" sz="1800"/>
              <a:t>Organisering av evt. delprosjekter</a:t>
            </a:r>
          </a:p>
          <a:p>
            <a:r>
              <a:rPr lang="nb-NO" sz="1800"/>
              <a:t>Frekvens for og når avholdes prosjektgruppemøter</a:t>
            </a:r>
          </a:p>
          <a:p>
            <a:r>
              <a:rPr lang="nb-NO" sz="1800"/>
              <a:t>Involvering av evt. referansegruppe&gt;</a:t>
            </a:r>
          </a:p>
          <a:p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14113752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24E3625-A27F-49E7-B87C-A92672490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isiko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17601DC-AC21-4EA4-8441-402865A8FB30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nb-NO"/>
              <a:t>&lt;Risikofaktorer som kan oppstå som forringer kvalitet, fremdrift, kostnad eller annet som påvirker gjennomføring av prosjektet&gt;</a:t>
            </a:r>
          </a:p>
          <a:p>
            <a:r>
              <a:rPr lang="nb-NO"/>
              <a:t>&lt;Risikomatrise&gt;</a:t>
            </a:r>
          </a:p>
          <a:p>
            <a:r>
              <a:rPr lang="nb-NO"/>
              <a:t>&lt;Risikoreduserende tiltak for risikofaktorer med høy og svært høy risiko&gt;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E9D5771-4DF8-488F-BCEA-48BC85A768C3}"/>
              </a:ext>
            </a:extLst>
          </p:cNvPr>
          <p:cNvSpPr/>
          <p:nvPr/>
        </p:nvSpPr>
        <p:spPr>
          <a:xfrm>
            <a:off x="10030408" y="144379"/>
            <a:ext cx="2009192" cy="117959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Kopier fra risikofanen i Corporater</a:t>
            </a:r>
          </a:p>
        </p:txBody>
      </p:sp>
    </p:spTree>
    <p:extLst>
      <p:ext uri="{BB962C8B-B14F-4D97-AF65-F5344CB8AC3E}">
        <p14:creationId xmlns:p14="http://schemas.microsoft.com/office/powerpoint/2010/main" val="33805609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F2E54-6667-A7D6-3E49-4105C5C1C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isik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14F306-879C-8798-5678-8DEDB6D4A41C}"/>
              </a:ext>
            </a:extLst>
          </p:cNvPr>
          <p:cNvSpPr txBox="1"/>
          <p:nvPr/>
        </p:nvSpPr>
        <p:spPr>
          <a:xfrm>
            <a:off x="835284" y="1944989"/>
            <a:ext cx="1050356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{{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List:Usikkerhet;Fields:ID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05),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Title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15),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GtRiskDescription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3),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GtRiskConsequence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1),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GtRiskProbability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1),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GtRiskStatus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1),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GtRiskAction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(0.2)}}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3418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BA2D1D-140D-45C8-A803-ECBBCEBB2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mmebetingels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D3960BD-4909-4C9B-A600-1B71EB006FC2}"/>
              </a:ext>
            </a:extLst>
          </p:cNvPr>
          <p:cNvSpPr txBox="1">
            <a:spLocks/>
          </p:cNvSpPr>
          <p:nvPr/>
        </p:nvSpPr>
        <p:spPr>
          <a:xfrm>
            <a:off x="838201" y="2115773"/>
            <a:ext cx="10515600" cy="3997160"/>
          </a:xfrm>
          <a:prstGeom prst="rect">
            <a:avLst/>
          </a:prstGeom>
        </p:spPr>
        <p:txBody>
          <a:bodyPr>
            <a:norm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/>
              <a:t>&lt;Konklusjon og begrunnelse fra vurderingen av juridisk avdeling vedr. rammebetingelser. (Juridisk)&gt;</a:t>
            </a:r>
          </a:p>
          <a:p>
            <a:endParaRPr lang="nb-NO" sz="1800"/>
          </a:p>
          <a:p>
            <a:r>
              <a:rPr lang="nb-NO" sz="1800"/>
              <a:t>&lt;Konklusjon og begrunnelse fra vurdering vedr. informasjonssikkerhet og personvern. (Personvernombudet)&gt;</a:t>
            </a:r>
          </a:p>
          <a:p>
            <a:endParaRPr lang="nb-NO" sz="1800"/>
          </a:p>
          <a:p>
            <a:r>
              <a:rPr lang="nb-NO" sz="1800"/>
              <a:t>&lt;Konklusjon og begrunnelse fra evt. vurdering fra anskaffelser. (Anskaffelser)&gt;</a:t>
            </a:r>
          </a:p>
          <a:p>
            <a:endParaRPr lang="nb-NO" sz="1800"/>
          </a:p>
          <a:p>
            <a:r>
              <a:rPr lang="nb-NO" sz="1800"/>
              <a:t>&lt;Konklusjon og begrunnelse fra vurdering vedr. tilgjengelige midler og lønnsomheten i prosjektet. (</a:t>
            </a:r>
            <a:r>
              <a:rPr lang="nb-NO" sz="1800" err="1"/>
              <a:t>Prosjektcontroller</a:t>
            </a:r>
            <a:r>
              <a:rPr lang="nb-NO" sz="1800"/>
              <a:t>)&gt;</a:t>
            </a:r>
          </a:p>
          <a:p>
            <a:pPr marL="0" indent="0">
              <a:buNone/>
            </a:pPr>
            <a:endParaRPr lang="nb-NO" sz="180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2E37CDB4-FECC-4259-9AD8-EB915DC49377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Kopier fra prosjektforslaget</a:t>
            </a:r>
          </a:p>
        </p:txBody>
      </p:sp>
    </p:spTree>
    <p:extLst>
      <p:ext uri="{BB962C8B-B14F-4D97-AF65-F5344CB8AC3E}">
        <p14:creationId xmlns:p14="http://schemas.microsoft.com/office/powerpoint/2010/main" val="1411106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2AB3649-584E-4294-81CB-67223AE08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sekvensutredning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2F84125B-1FE5-4D09-B84C-30A24F864BEA}"/>
              </a:ext>
            </a:extLst>
          </p:cNvPr>
          <p:cNvSpPr txBox="1">
            <a:spLocks/>
          </p:cNvSpPr>
          <p:nvPr/>
        </p:nvSpPr>
        <p:spPr>
          <a:xfrm>
            <a:off x="838201" y="2072640"/>
            <a:ext cx="10515600" cy="4040294"/>
          </a:xfrm>
          <a:prstGeom prst="rect">
            <a:avLst/>
          </a:prstGeom>
        </p:spPr>
        <p:txBody>
          <a:bodyPr>
            <a:norm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 hvilke andre områder enn det som er adressert som prosjektet kan ha konsekvenser for&gt;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A65AF783-5E26-4CD4-9706-7C78CA0FBF7D}"/>
              </a:ext>
            </a:extLst>
          </p:cNvPr>
          <p:cNvSpPr/>
          <p:nvPr/>
        </p:nvSpPr>
        <p:spPr>
          <a:xfrm>
            <a:off x="9610142" y="382694"/>
            <a:ext cx="2196782" cy="1340650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Ta utgangspunkt i prosjektforslaget, med evt. oppdatering og detaljering</a:t>
            </a:r>
          </a:p>
        </p:txBody>
      </p:sp>
    </p:spTree>
    <p:extLst>
      <p:ext uri="{BB962C8B-B14F-4D97-AF65-F5344CB8AC3E}">
        <p14:creationId xmlns:p14="http://schemas.microsoft.com/office/powerpoint/2010/main" val="1629113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C6B119-8170-4F65-9E98-A09C054A8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mm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54E001F-5BE6-456E-AFD7-FF5C5EE11656}"/>
              </a:ext>
            </a:extLst>
          </p:cNvPr>
          <p:cNvSpPr txBox="1">
            <a:spLocks/>
          </p:cNvSpPr>
          <p:nvPr/>
        </p:nvSpPr>
        <p:spPr>
          <a:xfrm>
            <a:off x="838201" y="1950720"/>
            <a:ext cx="10515600" cy="4070773"/>
          </a:xfrm>
          <a:prstGeom prst="rect">
            <a:avLst/>
          </a:prstGeom>
        </p:spPr>
        <p:txBody>
          <a:bodyPr>
            <a:no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grensning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 hva prosjektet </a:t>
            </a:r>
            <a:r>
              <a:rPr kumimoji="0" lang="nb-NO" sz="14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k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al levere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endParaRPr kumimoji="0" lang="nb-NO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hengighet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Interne og eksterne avhengigheter prosjektet har (for eksempel til andre prosjekter, interne og eksterne leveranser, tilgang til data, innkjøp. Dette er kjente avhengigheter (ikke usikkerheter) som prosjektet må ivareta/bygge inn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m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n videre planleggingen av prosjektet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ktigste suksessfaktorer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 viktigste forutsetninger for en vellykket gjennomføring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9376354-BF0E-4E88-B157-25C8A9981829}"/>
              </a:ext>
            </a:extLst>
          </p:cNvPr>
          <p:cNvSpPr/>
          <p:nvPr/>
        </p:nvSpPr>
        <p:spPr>
          <a:xfrm>
            <a:off x="9610142" y="382694"/>
            <a:ext cx="2196782" cy="1340650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Ta utgangspunkt i prosjektforslaget, med evt. oppdatering og detaljering</a:t>
            </a:r>
          </a:p>
        </p:txBody>
      </p:sp>
    </p:spTree>
    <p:extLst>
      <p:ext uri="{BB962C8B-B14F-4D97-AF65-F5344CB8AC3E}">
        <p14:creationId xmlns:p14="http://schemas.microsoft.com/office/powerpoint/2010/main" val="35195279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1D51AF-2FE3-4BF8-99A5-59DEDF1FC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edergruppens </a:t>
            </a:r>
            <a:r>
              <a:rPr lang="nb-NO" err="1"/>
              <a:t>fullmaktsramme</a:t>
            </a:r>
            <a:r>
              <a:rPr lang="nb-NO"/>
              <a:t> for styringsgrupp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20DA50-EE78-43D5-961B-AEFA4D6624A2}"/>
              </a:ext>
            </a:extLst>
          </p:cNvPr>
          <p:cNvSpPr txBox="1">
            <a:spLocks/>
          </p:cNvSpPr>
          <p:nvPr/>
        </p:nvSpPr>
        <p:spPr>
          <a:xfrm>
            <a:off x="838200" y="1778000"/>
            <a:ext cx="10647783" cy="4334934"/>
          </a:xfrm>
          <a:prstGeom prst="rect">
            <a:avLst/>
          </a:prstGeom>
        </p:spPr>
        <p:txBody>
          <a:bodyPr>
            <a:no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rgruppen gir prosjektets styringsgruppe ved Prosjekteier mandat til å styre prosjektet så lenge prognoser for totalprosjektet er innenfor følgende ramm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d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beskrive ramme for tid, eks «I henhold til fremdriftsplan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til 3 måneder forsinkels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Maksimalt 30% forsinkelse»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Økonomi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beskriv ramme for økonomi, eks.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sterne kostnader maksimalt 10% over opprinnelig budsjet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sterne kostnader innenfor opprinnelig budsjet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ik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beskriv ramme for risiko, eks.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 enn 6 risikoer med risikoverdi 8 eller høyer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 enn 10 risikoer med risikoverdi 12 eller høyer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en ramme (Styringsgruppe styrer prosjektet uavhengig av status på risiko)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fang/leveranser: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e ramme for omfang/leveranser, eks. «I henhold til omfang og leveranser», eller «Ingen vesentlige avvik/justeringer ift. omfang/leveranser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en ramme, styringsgruppe styrer prosjektet uavhengig av avvik eller justeringer på omfang/leveranser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eier skal løfte til Ledergruppe hvis prognose tilsier at totalprosjektet vil gå utover rammene ovenf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EA9DDA1-C61F-4B62-A985-84AD4F8F9569}"/>
              </a:ext>
            </a:extLst>
          </p:cNvPr>
          <p:cNvSpPr/>
          <p:nvPr/>
        </p:nvSpPr>
        <p:spPr>
          <a:xfrm>
            <a:off x="9351034" y="382694"/>
            <a:ext cx="2455890" cy="65247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Ta utgangspunkt i prosjektforslaget, med evt. oppdatering etter LG-beslutning</a:t>
            </a:r>
          </a:p>
        </p:txBody>
      </p:sp>
    </p:spTree>
    <p:extLst>
      <p:ext uri="{BB962C8B-B14F-4D97-AF65-F5344CB8AC3E}">
        <p14:creationId xmlns:p14="http://schemas.microsoft.com/office/powerpoint/2010/main" val="27580796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B22C38-9FAC-4630-A2E9-04697C58A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81ED168-7AD0-4748-9FBE-0731F7D62AB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8200" y="1944688"/>
            <a:ext cx="10515600" cy="4291012"/>
          </a:xfrm>
        </p:spPr>
        <p:txBody>
          <a:bodyPr>
            <a:normAutofit/>
          </a:bodyPr>
          <a:lstStyle/>
          <a:p>
            <a:r>
              <a:rPr lang="nb-NO" sz="1800"/>
              <a:t>Oppdatert gevinstrealiseringsplan og business case</a:t>
            </a:r>
          </a:p>
          <a:p>
            <a:r>
              <a:rPr lang="nb-NO" sz="1800"/>
              <a:t>Avhengig av prosjektets størrelse bør det også vurderes å inkludere en kommunikasjonsplan</a:t>
            </a:r>
          </a:p>
        </p:txBody>
      </p:sp>
    </p:spTree>
    <p:extLst>
      <p:ext uri="{BB962C8B-B14F-4D97-AF65-F5344CB8AC3E}">
        <p14:creationId xmlns:p14="http://schemas.microsoft.com/office/powerpoint/2010/main" val="909684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9903A-ECF1-4BAE-B5C5-30D2E9445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akgrunn og formål</a:t>
            </a:r>
          </a:p>
        </p:txBody>
      </p:sp>
      <p:sp>
        <p:nvSpPr>
          <p:cNvPr id="5" name="Likebent trekant 4">
            <a:extLst>
              <a:ext uri="{FF2B5EF4-FFF2-40B4-BE49-F238E27FC236}">
                <a16:creationId xmlns:a16="http://schemas.microsoft.com/office/drawing/2014/main" id="{32214DF9-96C8-40A3-8A8A-8D1080E96645}"/>
              </a:ext>
            </a:extLst>
          </p:cNvPr>
          <p:cNvSpPr/>
          <p:nvPr/>
        </p:nvSpPr>
        <p:spPr>
          <a:xfrm rot="5400000">
            <a:off x="5613279" y="3373764"/>
            <a:ext cx="1075914" cy="11047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6195BE6-8312-4A85-9839-B043FCD61F95}"/>
              </a:ext>
            </a:extLst>
          </p:cNvPr>
          <p:cNvSpPr txBox="1"/>
          <p:nvPr/>
        </p:nvSpPr>
        <p:spPr>
          <a:xfrm>
            <a:off x="1075093" y="2055730"/>
            <a:ext cx="4106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BAKGRUN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7FE21A9-085A-43A3-8B16-FE79C485E364}"/>
              </a:ext>
            </a:extLst>
          </p:cNvPr>
          <p:cNvSpPr txBox="1"/>
          <p:nvPr/>
        </p:nvSpPr>
        <p:spPr>
          <a:xfrm>
            <a:off x="6956169" y="2055730"/>
            <a:ext cx="4106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FORMÅL</a:t>
            </a:r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6926A7B8-7840-49DB-BE2E-9E56ECC4C6DC}"/>
              </a:ext>
            </a:extLst>
          </p:cNvPr>
          <p:cNvCxnSpPr>
            <a:cxnSpLocks/>
          </p:cNvCxnSpPr>
          <p:nvPr/>
        </p:nvCxnSpPr>
        <p:spPr>
          <a:xfrm>
            <a:off x="1075093" y="2465638"/>
            <a:ext cx="410659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ED835BEA-BFF0-4DE2-8243-D027F3D47CFB}"/>
              </a:ext>
            </a:extLst>
          </p:cNvPr>
          <p:cNvCxnSpPr>
            <a:cxnSpLocks/>
          </p:cNvCxnSpPr>
          <p:nvPr/>
        </p:nvCxnSpPr>
        <p:spPr>
          <a:xfrm>
            <a:off x="6956169" y="2475802"/>
            <a:ext cx="41065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ACC01216-2BDE-4E66-B270-7CA948F8A4BA}"/>
              </a:ext>
            </a:extLst>
          </p:cNvPr>
          <p:cNvSpPr txBox="1"/>
          <p:nvPr/>
        </p:nvSpPr>
        <p:spPr>
          <a:xfrm>
            <a:off x="838200" y="2539133"/>
            <a:ext cx="4535997" cy="24929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R="0" lvl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{{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List:Prosjektegenskaper;Fields:GtcBackground</a:t>
            </a:r>
            <a: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  <a:t>}}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FE4CA70E-BF2C-4C82-8C3D-BD5CC0271518}"/>
              </a:ext>
            </a:extLst>
          </p:cNvPr>
          <p:cNvSpPr txBox="1"/>
          <p:nvPr/>
        </p:nvSpPr>
        <p:spPr>
          <a:xfrm>
            <a:off x="6817804" y="2549297"/>
            <a:ext cx="4656441" cy="163217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R="0" lvl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200" dirty="0">
                <a:solidFill>
                  <a:srgbClr val="000000"/>
                </a:solidFill>
              </a:rPr>
              <a:t>{{</a:t>
            </a:r>
            <a:r>
              <a:rPr lang="nb-NO" sz="1200" dirty="0" err="1">
                <a:solidFill>
                  <a:srgbClr val="000000"/>
                </a:solidFill>
              </a:rPr>
              <a:t>List:Prosjektegenskaper;Fields:</a:t>
            </a:r>
            <a:r>
              <a:rPr lang="nb-NO" sz="1200" dirty="0" err="1">
                <a:solidFill>
                  <a:srgbClr val="000000"/>
                </a:solidFill>
                <a:ea typeface="+mn-lt"/>
                <a:cs typeface="+mn-lt"/>
              </a:rPr>
              <a:t>GtcPurpose</a:t>
            </a:r>
            <a:r>
              <a:rPr lang="nb-NO" sz="1200" dirty="0">
                <a:solidFill>
                  <a:srgbClr val="000000"/>
                </a:solidFill>
              </a:rPr>
              <a:t>}}</a:t>
            </a:r>
            <a:endParaRPr lang="nb-N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  <a:p>
            <a:pPr marR="0" lvl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A3F168C-3D62-4755-B793-E3309AAE2DCC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Fra prosjektforslaget.</a:t>
            </a:r>
          </a:p>
        </p:txBody>
      </p:sp>
    </p:spTree>
    <p:extLst>
      <p:ext uri="{BB962C8B-B14F-4D97-AF65-F5344CB8AC3E}">
        <p14:creationId xmlns:p14="http://schemas.microsoft.com/office/powerpoint/2010/main" val="1126235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CA7F309-3164-441A-ACE4-3751615B6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rsjonshistorikk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51B96973-5E48-4660-847B-88B3EC94F2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693015"/>
              </p:ext>
            </p:extLst>
          </p:nvPr>
        </p:nvGraphicFramePr>
        <p:xfrm>
          <a:off x="838200" y="2039787"/>
          <a:ext cx="10515600" cy="3132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8360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995680">
                  <a:extLst>
                    <a:ext uri="{9D8B030D-6E8A-4147-A177-3AD203B41FA5}">
                      <a16:colId xmlns:a16="http://schemas.microsoft.com/office/drawing/2014/main" val="3346454606"/>
                    </a:ext>
                  </a:extLst>
                </a:gridCol>
                <a:gridCol w="4625416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  <a:gridCol w="2093540">
                  <a:extLst>
                    <a:ext uri="{9D8B030D-6E8A-4147-A177-3AD203B41FA5}">
                      <a16:colId xmlns:a16="http://schemas.microsoft.com/office/drawing/2014/main" val="2656222219"/>
                    </a:ext>
                  </a:extLst>
                </a:gridCol>
                <a:gridCol w="1952604">
                  <a:extLst>
                    <a:ext uri="{9D8B030D-6E8A-4147-A177-3AD203B41FA5}">
                      <a16:colId xmlns:a16="http://schemas.microsoft.com/office/drawing/2014/main" val="966246690"/>
                    </a:ext>
                  </a:extLst>
                </a:gridCol>
              </a:tblGrid>
              <a:tr h="252193">
                <a:tc>
                  <a:txBody>
                    <a:bodyPr/>
                    <a:lstStyle/>
                    <a:p>
                      <a:r>
                        <a:rPr lang="nb-NO" sz="1400"/>
                        <a:t>Versjon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Dato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Endring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Utarbeidet av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Godkjen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926578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44789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507355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566318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85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87526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25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_">
            <a:extLst>
              <a:ext uri="{FF2B5EF4-FFF2-40B4-BE49-F238E27FC236}">
                <a16:creationId xmlns:a16="http://schemas.microsoft.com/office/drawing/2014/main" id="{84E5B3BD-F532-4680-A45C-3D6D1EA9669D}"/>
              </a:ext>
            </a:extLst>
          </p:cNvPr>
          <p:cNvGrpSpPr/>
          <p:nvPr/>
        </p:nvGrpSpPr>
        <p:grpSpPr>
          <a:xfrm>
            <a:off x="4159165" y="1400047"/>
            <a:ext cx="3873500" cy="3554038"/>
            <a:chOff x="4159165" y="1400047"/>
            <a:chExt cx="3873500" cy="3554038"/>
          </a:xfrm>
        </p:grpSpPr>
        <p:sp>
          <p:nvSpPr>
            <p:cNvPr id="7" name="Rektangel 16">
              <a:extLst>
                <a:ext uri="{FF2B5EF4-FFF2-40B4-BE49-F238E27FC236}">
                  <a16:creationId xmlns:a16="http://schemas.microsoft.com/office/drawing/2014/main" id="{47F5B330-9F11-472F-A473-87979ED0BAB7}"/>
                </a:ext>
              </a:extLst>
            </p:cNvPr>
            <p:cNvSpPr/>
            <p:nvPr userDrawn="1"/>
          </p:nvSpPr>
          <p:spPr>
            <a:xfrm>
              <a:off x="4159165" y="1400047"/>
              <a:ext cx="38735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" name="Bilde 20">
              <a:extLst>
                <a:ext uri="{FF2B5EF4-FFF2-40B4-BE49-F238E27FC236}">
                  <a16:creationId xmlns:a16="http://schemas.microsoft.com/office/drawing/2014/main" id="{D13A50C4-E677-4787-AC2B-47D3654702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7822" y="1647136"/>
              <a:ext cx="3288892" cy="3240167"/>
            </a:xfrm>
            <a:prstGeom prst="rect">
              <a:avLst/>
            </a:prstGeom>
          </p:spPr>
        </p:pic>
      </p:grpSp>
      <p:pic>
        <p:nvPicPr>
          <p:cNvPr id="13" name="logo_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670FF0-5121-465A-B697-9FC7123FB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0" y="6057288"/>
            <a:ext cx="237791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603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BD4EB760-C165-4FDA-B527-88810B3DA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skal prosjektet levere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574F503-8A44-4316-9AAC-7DE961B1AD73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Fra prosjektforslaget, med evt. oppdatering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BD9409-1C7A-8CBA-85C8-FFBC0B53B823}"/>
              </a:ext>
            </a:extLst>
          </p:cNvPr>
          <p:cNvSpPr txBox="1"/>
          <p:nvPr/>
        </p:nvSpPr>
        <p:spPr>
          <a:xfrm>
            <a:off x="835284" y="1944989"/>
            <a:ext cx="1045276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nb-NO" dirty="0"/>
              <a:t>{{</a:t>
            </a:r>
            <a:r>
              <a:rPr lang="nb-NO" dirty="0" err="1"/>
              <a:t>List:Prosjektleveranser;Fields:ID</a:t>
            </a:r>
            <a:r>
              <a:rPr lang="nb-NO" dirty="0"/>
              <a:t>(0.1),</a:t>
            </a:r>
            <a:r>
              <a:rPr lang="nb-NO" dirty="0" err="1"/>
              <a:t>Title</a:t>
            </a:r>
            <a:r>
              <a:rPr lang="nb-NO" dirty="0"/>
              <a:t>(0.3),</a:t>
            </a:r>
            <a:r>
              <a:rPr lang="nb-NO" dirty="0" err="1"/>
              <a:t>GtDeliveryDescription</a:t>
            </a:r>
            <a:r>
              <a:rPr lang="nb-NO"/>
              <a:t>(0.6);Width:0.6}}</a:t>
            </a:r>
            <a:endParaRPr lang="en-US"/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236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224CBF8-5789-44AC-AF74-B6B68A1B7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skrivelse av leveransene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5ADE2664-2411-4FE2-9E70-981238B878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2177144"/>
              </p:ext>
            </p:extLst>
          </p:nvPr>
        </p:nvGraphicFramePr>
        <p:xfrm>
          <a:off x="2617133" y="1745742"/>
          <a:ext cx="8775241" cy="1245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642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11277">
                <a:tc>
                  <a:txBody>
                    <a:bodyPr/>
                    <a:lstStyle/>
                    <a:p>
                      <a:r>
                        <a:rPr lang="nb-NO" sz="1400"/>
                        <a:t>Produk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Innhold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B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C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338DFAE7-5D53-4423-AA40-2D1519508A6E}"/>
              </a:ext>
            </a:extLst>
          </p:cNvPr>
          <p:cNvSpPr txBox="1"/>
          <p:nvPr/>
        </p:nvSpPr>
        <p:spPr>
          <a:xfrm>
            <a:off x="799626" y="2256542"/>
            <a:ext cx="203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600" b="1"/>
              <a:t>Hovedprodukt 1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E2D77C2-D539-4331-9CC7-E8795AA2D2FC}"/>
              </a:ext>
            </a:extLst>
          </p:cNvPr>
          <p:cNvSpPr txBox="1"/>
          <p:nvPr/>
        </p:nvSpPr>
        <p:spPr>
          <a:xfrm>
            <a:off x="799626" y="4130789"/>
            <a:ext cx="203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600" b="1"/>
              <a:t>Hovedprodukt 2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72C65234-2792-48CA-8156-AA1D7BD9335F}"/>
              </a:ext>
            </a:extLst>
          </p:cNvPr>
          <p:cNvSpPr txBox="1"/>
          <p:nvPr/>
        </p:nvSpPr>
        <p:spPr>
          <a:xfrm>
            <a:off x="799626" y="6005036"/>
            <a:ext cx="203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600" b="1"/>
              <a:t>Hovedprodukt 3</a:t>
            </a:r>
          </a:p>
        </p:txBody>
      </p:sp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45443031-D9F7-4456-9458-1FBDD3C946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70145"/>
              </p:ext>
            </p:extLst>
          </p:nvPr>
        </p:nvGraphicFramePr>
        <p:xfrm>
          <a:off x="2617132" y="3620617"/>
          <a:ext cx="8775241" cy="1245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642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11277">
                <a:tc>
                  <a:txBody>
                    <a:bodyPr/>
                    <a:lstStyle/>
                    <a:p>
                      <a:r>
                        <a:rPr lang="nb-NO" sz="1400"/>
                        <a:t>Produk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Innhold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B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C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graphicFrame>
        <p:nvGraphicFramePr>
          <p:cNvPr id="9" name="Tabell 8">
            <a:extLst>
              <a:ext uri="{FF2B5EF4-FFF2-40B4-BE49-F238E27FC236}">
                <a16:creationId xmlns:a16="http://schemas.microsoft.com/office/drawing/2014/main" id="{6ACDA645-EDF2-4802-B3C0-2B9E8D180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030595"/>
              </p:ext>
            </p:extLst>
          </p:nvPr>
        </p:nvGraphicFramePr>
        <p:xfrm>
          <a:off x="2617132" y="5495492"/>
          <a:ext cx="8775241" cy="1245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642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11277">
                <a:tc>
                  <a:txBody>
                    <a:bodyPr/>
                    <a:lstStyle/>
                    <a:p>
                      <a:r>
                        <a:rPr lang="nb-NO" sz="1400"/>
                        <a:t>Produk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Innhold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B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C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9689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59725A8-BC87-44F4-AA35-B274C6CA5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Gevinstoversikt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A2E9116-C190-4869-A168-79F50493709C}"/>
              </a:ext>
            </a:extLst>
          </p:cNvPr>
          <p:cNvSpPr/>
          <p:nvPr/>
        </p:nvSpPr>
        <p:spPr>
          <a:xfrm>
            <a:off x="9753600" y="144379"/>
            <a:ext cx="2286000" cy="81012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Lim inn et bilde av </a:t>
            </a:r>
            <a:r>
              <a:rPr lang="nb-NO" sz="1200">
                <a:solidFill>
                  <a:schemeClr val="tx1"/>
                </a:solidFill>
                <a:hlinkClick r:id="rId2"/>
              </a:rPr>
              <a:t>gevinstoversikten</a:t>
            </a:r>
            <a:r>
              <a:rPr lang="nb-NO" sz="1200">
                <a:solidFill>
                  <a:schemeClr val="tx1"/>
                </a:solidFill>
              </a:rPr>
              <a:t> (minimert)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6E8B604-3449-643E-FB79-B2D8F6562980}"/>
              </a:ext>
            </a:extLst>
          </p:cNvPr>
          <p:cNvSpPr txBox="1"/>
          <p:nvPr/>
        </p:nvSpPr>
        <p:spPr>
          <a:xfrm>
            <a:off x="3035525" y="3252426"/>
            <a:ext cx="61034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5D9450-28A8-9BA0-9F01-75CB9CF859D6}"/>
              </a:ext>
            </a:extLst>
          </p:cNvPr>
          <p:cNvSpPr txBox="1"/>
          <p:nvPr/>
        </p:nvSpPr>
        <p:spPr>
          <a:xfrm>
            <a:off x="768770" y="1944989"/>
            <a:ext cx="791769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200" dirty="0">
                <a:cs typeface="Arial"/>
              </a:rPr>
              <a:t>{{</a:t>
            </a:r>
            <a:r>
              <a:rPr lang="nb-NO" sz="1200" dirty="0" err="1">
                <a:cs typeface="Arial"/>
              </a:rPr>
              <a:t>List:Gevinstanalyse</a:t>
            </a:r>
            <a:r>
              <a:rPr lang="nb-NO" sz="1200" dirty="0">
                <a:cs typeface="Arial"/>
              </a:rPr>
              <a:t> og gevinstrealiseringsplan;Fields:</a:t>
            </a:r>
            <a:r>
              <a:rPr lang="nb-NO" sz="1200" dirty="0">
                <a:solidFill>
                  <a:schemeClr val="dk1"/>
                </a:solidFill>
                <a:cs typeface="Arial"/>
              </a:rPr>
              <a:t>Title,GtChangeLookup,GtGainsType,GtGainsTurnover</a:t>
            </a:r>
            <a:r>
              <a:rPr lang="nb-NO" sz="1200" dirty="0">
                <a:cs typeface="Arial"/>
              </a:rPr>
              <a:t>}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6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F694D86-4940-4B8D-AD50-D19B91414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714"/>
            <a:ext cx="10515600" cy="1077218"/>
          </a:xfrm>
        </p:spPr>
        <p:txBody>
          <a:bodyPr/>
          <a:lstStyle/>
          <a:p>
            <a:r>
              <a:rPr lang="nb-NO"/>
              <a:t>Business case og finansiering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AD88F773-69DA-4BE5-B5C4-F32913D92755}"/>
              </a:ext>
            </a:extLst>
          </p:cNvPr>
          <p:cNvSpPr/>
          <p:nvPr/>
        </p:nvSpPr>
        <p:spPr>
          <a:xfrm>
            <a:off x="9631095" y="242893"/>
            <a:ext cx="2286000" cy="81012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 inn et bilde av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/>
              </a:rPr>
              <a:t>business case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minimert)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6D580FD0-EDBA-42D1-9991-2DD5DA9320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492" y="1104932"/>
            <a:ext cx="11041016" cy="569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602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BD4EB760-C165-4FDA-B527-88810B3DA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ål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67057529-5F07-4383-AFB3-6F3D6C0A94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662253"/>
              </p:ext>
            </p:extLst>
          </p:nvPr>
        </p:nvGraphicFramePr>
        <p:xfrm>
          <a:off x="838200" y="1934467"/>
          <a:ext cx="10515600" cy="42616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3014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4246293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  <a:gridCol w="4246293">
                  <a:extLst>
                    <a:ext uri="{9D8B030D-6E8A-4147-A177-3AD203B41FA5}">
                      <a16:colId xmlns:a16="http://schemas.microsoft.com/office/drawing/2014/main" val="1987739662"/>
                    </a:ext>
                  </a:extLst>
                </a:gridCol>
              </a:tblGrid>
              <a:tr h="487236">
                <a:tc>
                  <a:txBody>
                    <a:bodyPr/>
                    <a:lstStyle/>
                    <a:p>
                      <a:r>
                        <a:rPr lang="nb-NO" sz="1400" dirty="0"/>
                        <a:t>Nivå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Beskrivelse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Suksesskriterier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1321544">
                <a:tc>
                  <a:txBody>
                    <a:bodyPr/>
                    <a:lstStyle/>
                    <a:p>
                      <a:r>
                        <a:rPr lang="nb-NO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ksomhetsmål</a:t>
                      </a:r>
                    </a:p>
                    <a:p>
                      <a:r>
                        <a:rPr lang="nb-NO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Ønsket fremtidig situasjon – strategisk, </a:t>
                      </a:r>
                      <a:r>
                        <a:rPr lang="nb-NO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ftrelatert</a:t>
                      </a:r>
                      <a:r>
                        <a:rPr lang="nb-NO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g/eller </a:t>
                      </a:r>
                      <a:r>
                        <a:rPr lang="nb-NO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ulatoriak</a:t>
                      </a:r>
                      <a:endParaRPr lang="nb-NO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nb-NO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nb-NO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t:Prosjektegenskaper;Fields:</a:t>
                      </a:r>
                      <a:r>
                        <a:rPr lang="nb-NO" sz="1200" b="0" i="0" u="none" strike="noStrike" kern="1200" noProof="0" dirty="0" err="1">
                          <a:solidFill>
                            <a:schemeClr val="dk1"/>
                          </a:solidFill>
                          <a:effectLst/>
                        </a:rPr>
                        <a:t>GtcStrategicAmbition</a:t>
                      </a:r>
                      <a:r>
                        <a:rPr lang="nb-NO" sz="1200" b="0" i="0" u="none" strike="noStrike" kern="1200" noProof="0" dirty="0">
                          <a:solidFill>
                            <a:schemeClr val="dk1"/>
                          </a:solidFill>
                          <a:effectLst/>
                        </a:rPr>
                        <a:t>}}</a:t>
                      </a:r>
                      <a:endParaRPr lang="nb-NO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20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 err="1"/>
                        <a:t>X</a:t>
                      </a:r>
                      <a:r>
                        <a:rPr lang="nb-NO" sz="1200" dirty="0"/>
                        <a:t>% reduksj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 err="1"/>
                        <a:t>X</a:t>
                      </a:r>
                      <a:r>
                        <a:rPr lang="nb-NO" sz="1200" dirty="0"/>
                        <a:t>% økn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1081263">
                <a:tc>
                  <a:txBody>
                    <a:bodyPr/>
                    <a:lstStyle/>
                    <a:p>
                      <a:r>
                        <a:rPr lang="nb-NO" sz="1200" dirty="0"/>
                        <a:t>Effektmål / gevinst</a:t>
                      </a:r>
                    </a:p>
                    <a:p>
                      <a:r>
                        <a:rPr lang="nb-NO" sz="1200" dirty="0"/>
                        <a:t>Hvilke konkrete endringer skal prosjektet føre til</a:t>
                      </a:r>
                    </a:p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nb-NO" sz="1200" b="0" i="0" u="none" strike="noStrike" noProof="0" dirty="0">
                          <a:solidFill>
                            <a:schemeClr val="dk1"/>
                          </a:solidFill>
                          <a:latin typeface="Arial"/>
                        </a:rPr>
                        <a:t>{{</a:t>
                      </a:r>
                      <a:r>
                        <a:rPr lang="nb-NO" sz="1200" b="0" i="0" u="none" strike="noStrike" noProof="0" dirty="0" err="1">
                          <a:solidFill>
                            <a:schemeClr val="dk1"/>
                          </a:solidFill>
                          <a:latin typeface="Arial"/>
                        </a:rPr>
                        <a:t>List:Prosjektegenskaper;Fields:GtcGoals</a:t>
                      </a:r>
                      <a:r>
                        <a:rPr lang="nb-NO" sz="1200" b="0" i="0" u="none" strike="noStrike" noProof="0" dirty="0">
                          <a:solidFill>
                            <a:schemeClr val="dk1"/>
                          </a:solidFill>
                          <a:latin typeface="Arial"/>
                        </a:rPr>
                        <a:t>}}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 err="1"/>
                        <a:t>X</a:t>
                      </a:r>
                      <a:r>
                        <a:rPr lang="nb-NO" sz="1200" dirty="0"/>
                        <a:t>% reduksj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 err="1"/>
                        <a:t>X</a:t>
                      </a:r>
                      <a:r>
                        <a:rPr lang="nb-NO" sz="1200" dirty="0"/>
                        <a:t>% økn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1321544">
                <a:tc>
                  <a:txBody>
                    <a:bodyPr/>
                    <a:lstStyle/>
                    <a:p>
                      <a:r>
                        <a:rPr lang="nb-NO" sz="1200" dirty="0"/>
                        <a:t>Resultatmål / Prosjektprodukt / Leveranse </a:t>
                      </a:r>
                    </a:p>
                    <a:p>
                      <a:r>
                        <a:rPr lang="nb-NO" sz="1200" dirty="0"/>
                        <a:t>Den konkrete tjenesten eller det produktet som skal fremskaffes i prosjektet.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12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"/>
                        </a:rPr>
                        <a:t>KPI: {{</a:t>
                      </a:r>
                      <a:r>
                        <a:rPr lang="nb-NO" sz="1200" b="0" i="0" u="none" strike="noStrike" kern="1200" noProof="0" dirty="0" err="1">
                          <a:solidFill>
                            <a:schemeClr val="dk1"/>
                          </a:solidFill>
                          <a:effectLst/>
                          <a:latin typeface="Arial"/>
                        </a:rPr>
                        <a:t>List:Prosjektegenskaper;Fields:GtcKPI</a:t>
                      </a:r>
                      <a:r>
                        <a:rPr lang="nb-NO" sz="12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"/>
                        </a:rPr>
                        <a:t>}}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/>
                        <a:t>Beskriv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E364D7C4-B9BD-48BB-9B91-AFE852151A2B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 prosjektforslaget, med evt. oppdateringer</a:t>
            </a:r>
          </a:p>
        </p:txBody>
      </p:sp>
    </p:spTree>
    <p:extLst>
      <p:ext uri="{BB962C8B-B14F-4D97-AF65-F5344CB8AC3E}">
        <p14:creationId xmlns:p14="http://schemas.microsoft.com/office/powerpoint/2010/main" val="3753028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79133C8-C458-4879-8224-2AB2186B4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Hovedinteressenter</a:t>
            </a:r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298ED49-B96D-4CCF-B01D-D36F653383D9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Fra prosjektforslaget med oppdatering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8E6EAC-1067-DF64-5D32-C4F11C1BA6C2}"/>
              </a:ext>
            </a:extLst>
          </p:cNvPr>
          <p:cNvSpPr txBox="1"/>
          <p:nvPr/>
        </p:nvSpPr>
        <p:spPr>
          <a:xfrm>
            <a:off x="835284" y="1944989"/>
            <a:ext cx="10503566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nb-NO" sz="1200" dirty="0">
                <a:cs typeface="Arial"/>
              </a:rPr>
              <a:t>{{List:Interessentregister;Fields:</a:t>
            </a:r>
            <a:r>
              <a:rPr lang="nb-NO" sz="1200" dirty="0">
                <a:solidFill>
                  <a:schemeClr val="dk1"/>
                </a:solidFill>
                <a:cs typeface="Arial"/>
              </a:rPr>
              <a:t>Title,</a:t>
            </a:r>
            <a:r>
              <a:rPr lang="nb-NO" sz="1200" dirty="0">
                <a:solidFill>
                  <a:schemeClr val="dk1"/>
                </a:solidFill>
                <a:ea typeface="+mn-lt"/>
                <a:cs typeface="+mn-lt"/>
              </a:rPr>
              <a:t>GtStakeholderStrategy</a:t>
            </a:r>
            <a:r>
              <a:rPr lang="nb-NO" sz="1200" dirty="0">
                <a:solidFill>
                  <a:schemeClr val="dk1"/>
                </a:solidFill>
                <a:cs typeface="Arial"/>
              </a:rPr>
              <a:t>,</a:t>
            </a:r>
            <a:r>
              <a:rPr lang="nb-NO" sz="1200" dirty="0">
                <a:solidFill>
                  <a:schemeClr val="dk1"/>
                </a:solidFill>
                <a:ea typeface="+mn-lt"/>
                <a:cs typeface="+mn-lt"/>
              </a:rPr>
              <a:t>GtStakeholderInterest</a:t>
            </a:r>
            <a:r>
              <a:rPr lang="nb-NO" sz="1200" dirty="0">
                <a:solidFill>
                  <a:schemeClr val="dk1"/>
                </a:solidFill>
                <a:cs typeface="Arial"/>
              </a:rPr>
              <a:t>,</a:t>
            </a:r>
            <a:r>
              <a:rPr lang="nb-NO" sz="1200" dirty="0">
                <a:solidFill>
                  <a:schemeClr val="dk1"/>
                </a:solidFill>
                <a:ea typeface="+mn-lt"/>
                <a:cs typeface="+mn-lt"/>
              </a:rPr>
              <a:t>GtStakeholderInfluence</a:t>
            </a:r>
            <a:r>
              <a:rPr lang="nb-NO" sz="1200" dirty="0">
                <a:solidFill>
                  <a:schemeClr val="dk1"/>
                </a:solidFill>
                <a:cs typeface="Arial"/>
              </a:rPr>
              <a:t>,</a:t>
            </a:r>
            <a:r>
              <a:rPr lang="nb-NO" sz="1200" dirty="0">
                <a:solidFill>
                  <a:schemeClr val="dk1"/>
                </a:solidFill>
                <a:ea typeface="+mn-lt"/>
                <a:cs typeface="+mn-lt"/>
              </a:rPr>
              <a:t>GtStakeholderInfluencePossibilty</a:t>
            </a:r>
            <a:r>
              <a:rPr lang="nb-NO" sz="1200" dirty="0">
                <a:cs typeface="Arial"/>
              </a:rPr>
              <a:t>}}</a:t>
            </a:r>
            <a:endParaRPr lang="en-US" sz="1200" dirty="0">
              <a:cs typeface="Arial"/>
            </a:endParaRPr>
          </a:p>
          <a:p>
            <a:pPr algn="l"/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3604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Rett linje 32">
            <a:extLst>
              <a:ext uri="{FF2B5EF4-FFF2-40B4-BE49-F238E27FC236}">
                <a16:creationId xmlns:a16="http://schemas.microsoft.com/office/drawing/2014/main" id="{1C81A197-90DD-4121-85FA-3A9A477E7BB2}"/>
              </a:ext>
            </a:extLst>
          </p:cNvPr>
          <p:cNvCxnSpPr>
            <a:cxnSpLocks/>
          </p:cNvCxnSpPr>
          <p:nvPr/>
        </p:nvCxnSpPr>
        <p:spPr>
          <a:xfrm flipH="1">
            <a:off x="5775310" y="4743451"/>
            <a:ext cx="52863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tt linje 38">
            <a:extLst>
              <a:ext uri="{FF2B5EF4-FFF2-40B4-BE49-F238E27FC236}">
                <a16:creationId xmlns:a16="http://schemas.microsoft.com/office/drawing/2014/main" id="{4F59CEFB-9E53-45E1-AACB-5121F9261911}"/>
              </a:ext>
            </a:extLst>
          </p:cNvPr>
          <p:cNvCxnSpPr>
            <a:cxnSpLocks/>
          </p:cNvCxnSpPr>
          <p:nvPr/>
        </p:nvCxnSpPr>
        <p:spPr>
          <a:xfrm>
            <a:off x="7372349" y="5627579"/>
            <a:ext cx="4762" cy="32955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FE2DC0AC-5736-4032-8F13-418789139385}"/>
              </a:ext>
            </a:extLst>
          </p:cNvPr>
          <p:cNvCxnSpPr>
            <a:cxnSpLocks/>
            <a:stCxn id="20" idx="2"/>
            <a:endCxn id="18" idx="0"/>
          </p:cNvCxnSpPr>
          <p:nvPr/>
        </p:nvCxnSpPr>
        <p:spPr>
          <a:xfrm flipH="1">
            <a:off x="5233986" y="4079541"/>
            <a:ext cx="1" cy="172003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0373CC1F-6602-40EC-8EEF-E6E2F2EB1B4B}"/>
              </a:ext>
            </a:extLst>
          </p:cNvPr>
          <p:cNvCxnSpPr>
            <a:cxnSpLocks/>
          </p:cNvCxnSpPr>
          <p:nvPr/>
        </p:nvCxnSpPr>
        <p:spPr>
          <a:xfrm>
            <a:off x="6296025" y="2308867"/>
            <a:ext cx="0" cy="243458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>
            <a:extLst>
              <a:ext uri="{FF2B5EF4-FFF2-40B4-BE49-F238E27FC236}">
                <a16:creationId xmlns:a16="http://schemas.microsoft.com/office/drawing/2014/main" id="{F0D3AF00-AC04-4E02-B5DD-3D71EF56F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chemeClr val="accent1"/>
                </a:solidFill>
              </a:rPr>
              <a:t>Prosjektorganisasjonen</a:t>
            </a:r>
          </a:p>
        </p:txBody>
      </p:sp>
      <p:sp>
        <p:nvSpPr>
          <p:cNvPr id="14" name="Rektangel: avrundede hjørner 13">
            <a:extLst>
              <a:ext uri="{FF2B5EF4-FFF2-40B4-BE49-F238E27FC236}">
                <a16:creationId xmlns:a16="http://schemas.microsoft.com/office/drawing/2014/main" id="{5D23E58C-3E99-4D25-A13E-AD04A6B5BDFE}"/>
              </a:ext>
            </a:extLst>
          </p:cNvPr>
          <p:cNvSpPr/>
          <p:nvPr/>
        </p:nvSpPr>
        <p:spPr>
          <a:xfrm>
            <a:off x="3848100" y="1790700"/>
            <a:ext cx="4895850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rgruppen</a:t>
            </a:r>
          </a:p>
        </p:txBody>
      </p:sp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4EC1757C-116A-4063-8568-EBB369B7A457}"/>
              </a:ext>
            </a:extLst>
          </p:cNvPr>
          <p:cNvSpPr/>
          <p:nvPr/>
        </p:nvSpPr>
        <p:spPr>
          <a:xfrm>
            <a:off x="3848100" y="2685097"/>
            <a:ext cx="4895850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eier</a:t>
            </a:r>
          </a:p>
        </p:txBody>
      </p:sp>
      <p:sp>
        <p:nvSpPr>
          <p:cNvPr id="17" name="Rektangel: avrundede hjørner 16">
            <a:extLst>
              <a:ext uri="{FF2B5EF4-FFF2-40B4-BE49-F238E27FC236}">
                <a16:creationId xmlns:a16="http://schemas.microsoft.com/office/drawing/2014/main" id="{AC1BBC65-F333-43E8-AC59-44AA6990B5AD}"/>
              </a:ext>
            </a:extLst>
          </p:cNvPr>
          <p:cNvSpPr/>
          <p:nvPr/>
        </p:nvSpPr>
        <p:spPr>
          <a:xfrm>
            <a:off x="4314825" y="4494832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leder</a:t>
            </a:r>
          </a:p>
        </p:txBody>
      </p:sp>
      <p:sp>
        <p:nvSpPr>
          <p:cNvPr id="18" name="Rektangel: avrundede hjørner 17">
            <a:extLst>
              <a:ext uri="{FF2B5EF4-FFF2-40B4-BE49-F238E27FC236}">
                <a16:creationId xmlns:a16="http://schemas.microsoft.com/office/drawing/2014/main" id="{343E4A99-0AF7-4EA6-95B1-EB92AB4EB42D}"/>
              </a:ext>
            </a:extLst>
          </p:cNvPr>
          <p:cNvSpPr/>
          <p:nvPr/>
        </p:nvSpPr>
        <p:spPr>
          <a:xfrm>
            <a:off x="4314823" y="5799575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gruppe</a:t>
            </a:r>
          </a:p>
        </p:txBody>
      </p:sp>
      <p:sp>
        <p:nvSpPr>
          <p:cNvPr id="19" name="Rektangel: avrundede hjørner 18">
            <a:extLst>
              <a:ext uri="{FF2B5EF4-FFF2-40B4-BE49-F238E27FC236}">
                <a16:creationId xmlns:a16="http://schemas.microsoft.com/office/drawing/2014/main" id="{1A82DF53-BF7E-42C7-9454-72B1E99E6EBD}"/>
              </a:ext>
            </a:extLst>
          </p:cNvPr>
          <p:cNvSpPr/>
          <p:nvPr/>
        </p:nvSpPr>
        <p:spPr>
          <a:xfrm>
            <a:off x="6453186" y="5816926"/>
            <a:ext cx="1838325" cy="4953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eransegruppe</a:t>
            </a:r>
          </a:p>
        </p:txBody>
      </p:sp>
      <p:sp>
        <p:nvSpPr>
          <p:cNvPr id="20" name="Rektangel: avrundede hjørner 19">
            <a:extLst>
              <a:ext uri="{FF2B5EF4-FFF2-40B4-BE49-F238E27FC236}">
                <a16:creationId xmlns:a16="http://schemas.microsoft.com/office/drawing/2014/main" id="{793396D3-9B51-417E-AA63-8A84C06E369B}"/>
              </a:ext>
            </a:extLst>
          </p:cNvPr>
          <p:cNvSpPr/>
          <p:nvPr/>
        </p:nvSpPr>
        <p:spPr>
          <a:xfrm>
            <a:off x="4314824" y="3589949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yringsgruppe</a:t>
            </a:r>
          </a:p>
        </p:txBody>
      </p:sp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7C196974-DB52-4E74-9ACA-1F04BB89F723}"/>
              </a:ext>
            </a:extLst>
          </p:cNvPr>
          <p:cNvCxnSpPr>
            <a:cxnSpLocks/>
          </p:cNvCxnSpPr>
          <p:nvPr/>
        </p:nvCxnSpPr>
        <p:spPr>
          <a:xfrm flipH="1">
            <a:off x="6076950" y="3838575"/>
            <a:ext cx="2190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linje 36">
            <a:extLst>
              <a:ext uri="{FF2B5EF4-FFF2-40B4-BE49-F238E27FC236}">
                <a16:creationId xmlns:a16="http://schemas.microsoft.com/office/drawing/2014/main" id="{87DCF372-15FB-45E4-B534-EE7E9797EF28}"/>
              </a:ext>
            </a:extLst>
          </p:cNvPr>
          <p:cNvCxnSpPr>
            <a:cxnSpLocks/>
          </p:cNvCxnSpPr>
          <p:nvPr/>
        </p:nvCxnSpPr>
        <p:spPr>
          <a:xfrm flipH="1">
            <a:off x="5233987" y="5617082"/>
            <a:ext cx="2138361" cy="283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ktangel 45">
            <a:extLst>
              <a:ext uri="{FF2B5EF4-FFF2-40B4-BE49-F238E27FC236}">
                <a16:creationId xmlns:a16="http://schemas.microsoft.com/office/drawing/2014/main" id="{56DBA5BB-F939-4724-94CA-7B5EBB2CE364}"/>
              </a:ext>
            </a:extLst>
          </p:cNvPr>
          <p:cNvSpPr/>
          <p:nvPr/>
        </p:nvSpPr>
        <p:spPr>
          <a:xfrm>
            <a:off x="6638936" y="3584069"/>
            <a:ext cx="2790816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at godkjente leveranser er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leveranser, mål og rammer beskrevet i prosjekts styringsdokument.</a:t>
            </a: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713F8A85-B68D-4AF5-885D-DAE1DD1D27E2}"/>
              </a:ext>
            </a:extLst>
          </p:cNvPr>
          <p:cNvSpPr/>
          <p:nvPr/>
        </p:nvSpPr>
        <p:spPr>
          <a:xfrm>
            <a:off x="682079" y="2672761"/>
            <a:ext cx="3158097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rer målet for prosjektet og har overordnet ansvar for gjennomføringen av prosjektet og at godkjente leveranser er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til leveranser, mål og rammer beskrevet i prosjekts styringsdoku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innhold i prosjektforslag og styringsdokument.</a:t>
            </a: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49E91A19-82BB-46DB-A435-F365E28A48E3}"/>
              </a:ext>
            </a:extLst>
          </p:cNvPr>
          <p:cNvSpPr/>
          <p:nvPr/>
        </p:nvSpPr>
        <p:spPr>
          <a:xfrm>
            <a:off x="682079" y="4500198"/>
            <a:ext cx="3166015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at prosjektet gjennomføres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inmonopolets metodikk, prosess o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lverk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leveranser, mål og rammer beskrevet i prosjekts styringsdoku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føringer fra prosjekteier/styringsgruppe.</a:t>
            </a: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4816CBD2-79B9-447C-B2C9-C1D8F67E7BBA}"/>
              </a:ext>
            </a:extLst>
          </p:cNvPr>
          <p:cNvSpPr/>
          <p:nvPr/>
        </p:nvSpPr>
        <p:spPr>
          <a:xfrm>
            <a:off x="682079" y="5755782"/>
            <a:ext cx="3249840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å gjennomføre prosjektet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leveranser, mål og rammer beskrevet i prosjekts styringsdokument, under ledelse av prosjektleder. Jobber selvstendig og i team med blikk for helheten i prosjektet i tillegg til sitt fagområde spesielt.</a:t>
            </a: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A430F668-B4EA-4B29-9967-5F758DF9A167}"/>
              </a:ext>
            </a:extLst>
          </p:cNvPr>
          <p:cNvSpPr/>
          <p:nvPr/>
        </p:nvSpPr>
        <p:spPr>
          <a:xfrm>
            <a:off x="8504890" y="5799575"/>
            <a:ext cx="183832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år prosjektet ved behov. Rådgivere og input der det er relevant.</a:t>
            </a: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057C7C40-9616-4AD1-A8AA-11B2604525E3}"/>
              </a:ext>
            </a:extLst>
          </p:cNvPr>
          <p:cNvSpPr/>
          <p:nvPr/>
        </p:nvSpPr>
        <p:spPr>
          <a:xfrm>
            <a:off x="682079" y="1798320"/>
            <a:ext cx="281462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lutter igangsettelse og avslutning av prosjektet.</a:t>
            </a:r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D6BC2122-FB56-4676-B210-9F473EC9B5C7}"/>
              </a:ext>
            </a:extLst>
          </p:cNvPr>
          <p:cNvSpPr/>
          <p:nvPr/>
        </p:nvSpPr>
        <p:spPr>
          <a:xfrm>
            <a:off x="6453186" y="4947836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støtte</a:t>
            </a:r>
          </a:p>
        </p:txBody>
      </p: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73CF4DBE-A891-4062-981D-7D8A7777F1B5}"/>
              </a:ext>
            </a:extLst>
          </p:cNvPr>
          <p:cNvCxnSpPr>
            <a:cxnSpLocks/>
          </p:cNvCxnSpPr>
          <p:nvPr/>
        </p:nvCxnSpPr>
        <p:spPr>
          <a:xfrm flipH="1">
            <a:off x="5233985" y="5206747"/>
            <a:ext cx="128636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ktangel 24">
            <a:extLst>
              <a:ext uri="{FF2B5EF4-FFF2-40B4-BE49-F238E27FC236}">
                <a16:creationId xmlns:a16="http://schemas.microsoft.com/office/drawing/2014/main" id="{6E5AD726-4D5F-471C-A659-DEFF2DA47477}"/>
              </a:ext>
            </a:extLst>
          </p:cNvPr>
          <p:cNvSpPr/>
          <p:nvPr/>
        </p:nvSpPr>
        <p:spPr>
          <a:xfrm>
            <a:off x="8504890" y="4924792"/>
            <a:ext cx="199680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år prosjektleder i planlegging og gjennomføring av prosjektet, etter behov.</a:t>
            </a:r>
          </a:p>
        </p:txBody>
      </p:sp>
      <p:sp>
        <p:nvSpPr>
          <p:cNvPr id="27" name="Rektangel: avrundede hjørner 26">
            <a:extLst>
              <a:ext uri="{FF2B5EF4-FFF2-40B4-BE49-F238E27FC236}">
                <a16:creationId xmlns:a16="http://schemas.microsoft.com/office/drawing/2014/main" id="{75048AE3-E63E-4FA4-898E-F19D5D52C8E5}"/>
              </a:ext>
            </a:extLst>
          </p:cNvPr>
          <p:cNvSpPr/>
          <p:nvPr/>
        </p:nvSpPr>
        <p:spPr>
          <a:xfrm>
            <a:off x="10011917" y="1739615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kontor</a:t>
            </a:r>
          </a:p>
        </p:txBody>
      </p:sp>
      <p:sp>
        <p:nvSpPr>
          <p:cNvPr id="28" name="Rektangel: avrundede hjørner 27">
            <a:extLst>
              <a:ext uri="{FF2B5EF4-FFF2-40B4-BE49-F238E27FC236}">
                <a16:creationId xmlns:a16="http://schemas.microsoft.com/office/drawing/2014/main" id="{FC94B6D8-40ED-4FAC-95EF-5E03E2EC5182}"/>
              </a:ext>
            </a:extLst>
          </p:cNvPr>
          <p:cNvSpPr/>
          <p:nvPr/>
        </p:nvSpPr>
        <p:spPr>
          <a:xfrm>
            <a:off x="9947527" y="3593779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controller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3F0195C3-59EF-4415-9A69-3406BE51B42F}"/>
              </a:ext>
            </a:extLst>
          </p:cNvPr>
          <p:cNvSpPr/>
          <p:nvPr/>
        </p:nvSpPr>
        <p:spPr>
          <a:xfrm>
            <a:off x="10011916" y="2299308"/>
            <a:ext cx="183832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rettelegger for gjennomføringskraft og forutsigbarhet</a:t>
            </a: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3E821161-F2BA-4043-BE0A-1E3ECF1F162B}"/>
              </a:ext>
            </a:extLst>
          </p:cNvPr>
          <p:cNvSpPr/>
          <p:nvPr/>
        </p:nvSpPr>
        <p:spPr>
          <a:xfrm>
            <a:off x="9917720" y="4151211"/>
            <a:ext cx="193252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år på business case og økonomi, samt administrerer tildeling av midler.</a:t>
            </a:r>
          </a:p>
        </p:txBody>
      </p:sp>
    </p:spTree>
    <p:extLst>
      <p:ext uri="{BB962C8B-B14F-4D97-AF65-F5344CB8AC3E}">
        <p14:creationId xmlns:p14="http://schemas.microsoft.com/office/powerpoint/2010/main" val="2725763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NTAG" val="Bildeplasshol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_TUVcCSxiLshCGEoaFaQ"/>
</p:tagLst>
</file>

<file path=ppt/theme/theme1.xml><?xml version="1.0" encoding="utf-8"?>
<a:theme xmlns:a="http://schemas.openxmlformats.org/drawingml/2006/main" name="Office Theme">
  <a:themeElements>
    <a:clrScheme name="Vinmonopolet">
      <a:dk1>
        <a:srgbClr val="000000"/>
      </a:dk1>
      <a:lt1>
        <a:srgbClr val="FFFFFF"/>
      </a:lt1>
      <a:dk2>
        <a:srgbClr val="296459"/>
      </a:dk2>
      <a:lt2>
        <a:srgbClr val="D2E0DD"/>
      </a:lt2>
      <a:accent1>
        <a:srgbClr val="092529"/>
      </a:accent1>
      <a:accent2>
        <a:srgbClr val="CFE9DE"/>
      </a:accent2>
      <a:accent3>
        <a:srgbClr val="66050A"/>
      </a:accent3>
      <a:accent4>
        <a:srgbClr val="FFC9CB"/>
      </a:accent4>
      <a:accent5>
        <a:srgbClr val="D77C3C"/>
      </a:accent5>
      <a:accent6>
        <a:srgbClr val="FFC080"/>
      </a:accent6>
      <a:hlink>
        <a:srgbClr val="0563C1"/>
      </a:hlink>
      <a:folHlink>
        <a:srgbClr val="954F72"/>
      </a:folHlink>
    </a:clrScheme>
    <a:fontScheme name="Custom 64">
      <a:majorFont>
        <a:latin typeface="Vinmonopolet Titte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nmonopolet_PPT Formell.potx" id="{7431D360-70E7-4D92-8180-91532F86A0BB}" vid="{E9B8E8BF-6BC4-43A2-905F-8A431E7BB61A}"/>
    </a:ext>
  </a:extLst>
</a:theme>
</file>

<file path=ppt/theme/theme2.xml><?xml version="1.0" encoding="utf-8"?>
<a:theme xmlns:a="http://schemas.openxmlformats.org/drawingml/2006/main" name="Forside m/ bilde">
  <a:themeElements>
    <a:clrScheme name="Vinmonopolet1">
      <a:dk1>
        <a:srgbClr val="000000"/>
      </a:dk1>
      <a:lt1>
        <a:srgbClr val="FFFFFF"/>
      </a:lt1>
      <a:dk2>
        <a:srgbClr val="000000"/>
      </a:dk2>
      <a:lt2>
        <a:srgbClr val="F5F4E8"/>
      </a:lt2>
      <a:accent1>
        <a:srgbClr val="000000"/>
      </a:accent1>
      <a:accent2>
        <a:srgbClr val="00A0F0"/>
      </a:accent2>
      <a:accent3>
        <a:srgbClr val="998E53"/>
      </a:accent3>
      <a:accent4>
        <a:srgbClr val="F9E0DB"/>
      </a:accent4>
      <a:accent5>
        <a:srgbClr val="E9F6FD"/>
      </a:accent5>
      <a:accent6>
        <a:srgbClr val="E64614"/>
      </a:accent6>
      <a:hlink>
        <a:srgbClr val="0563C1"/>
      </a:hlink>
      <a:folHlink>
        <a:srgbClr val="954F72"/>
      </a:folHlink>
    </a:clrScheme>
    <a:fontScheme name="Vinmonopolet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35D179B-F883-A643-B788-7397A70100C6}" vid="{537C9EE9-2ACB-4D40-8C23-50F35D5F2F6D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CB5F93E-91FF-4AED-850A-DB5149D92CCA}">
  <we:reference id="wa104380594" version="2.0.0.0" store="nb-NO" storeType="OMEX"/>
  <we:alternateReferences>
    <we:reference id="WA104380594" version="2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D02F7C9D03C9A4B970D525A7D441278" ma:contentTypeVersion="3" ma:contentTypeDescription="Opprett et nytt dokument." ma:contentTypeScope="" ma:versionID="3cef01e7c9e12a9a16fb42d67b102027">
  <xsd:schema xmlns:xsd="http://www.w3.org/2001/XMLSchema" xmlns:xs="http://www.w3.org/2001/XMLSchema" xmlns:p="http://schemas.microsoft.com/office/2006/metadata/properties" xmlns:ns2="6bd09878-7f64-4a12-9d53-daf7fb06682b" targetNamespace="http://schemas.microsoft.com/office/2006/metadata/properties" ma:root="true" ma:fieldsID="f2c206651d028fab7361bc3b7408abcf" ns2:_="">
    <xsd:import namespace="6bd09878-7f64-4a12-9d53-daf7fb0668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d09878-7f64-4a12-9d53-daf7fb0668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5F6AD1-CF2F-4543-BFB3-92EC54B4327D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8ef01aa4-3923-42dd-8468-e53cc7cccf8f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DB9F3339-AE23-4BC5-924F-09D61EB0B3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3C376D4-D01F-45C2-B69F-7C3C5355CF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d09878-7f64-4a12-9d53-daf7fb06682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</TotalTime>
  <Words>1114</Words>
  <Application>Microsoft Office PowerPoint</Application>
  <PresentationFormat>Widescreen</PresentationFormat>
  <Paragraphs>211</Paragraphs>
  <Slides>21</Slides>
  <Notes>0</Notes>
  <HiddenSlides>1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Office Theme</vt:lpstr>
      <vt:lpstr>Forside m/ bilde</vt:lpstr>
      <vt:lpstr>{{List:Prosjektegenskaper;Fields:Title}}</vt:lpstr>
      <vt:lpstr>Bakgrunn og formål</vt:lpstr>
      <vt:lpstr>Hva skal prosjektet levere</vt:lpstr>
      <vt:lpstr>Beskrivelse av leveransene</vt:lpstr>
      <vt:lpstr>Gevinstoversikt</vt:lpstr>
      <vt:lpstr>Business case og finansiering</vt:lpstr>
      <vt:lpstr>Mål</vt:lpstr>
      <vt:lpstr>Hovedinteressenter</vt:lpstr>
      <vt:lpstr>Prosjektorganisasjonen</vt:lpstr>
      <vt:lpstr>Prosjekt-organisasjonen</vt:lpstr>
      <vt:lpstr>Fremdrifts- og milepælsplan</vt:lpstr>
      <vt:lpstr>Prosjektstyring</vt:lpstr>
      <vt:lpstr>Risiko</vt:lpstr>
      <vt:lpstr>Risiko</vt:lpstr>
      <vt:lpstr>Rammebetingelser</vt:lpstr>
      <vt:lpstr>Konsekvensutredning</vt:lpstr>
      <vt:lpstr>Rammer</vt:lpstr>
      <vt:lpstr>Ledergruppens fullmaktsramme for styringsgruppen</vt:lpstr>
      <vt:lpstr>Vedlegg</vt:lpstr>
      <vt:lpstr>Versjonshistorik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as Bratseth</dc:creator>
  <cp:lastModifiedBy>Håvard Berg</cp:lastModifiedBy>
  <cp:revision>114</cp:revision>
  <dcterms:created xsi:type="dcterms:W3CDTF">2020-02-06T07:11:03Z</dcterms:created>
  <dcterms:modified xsi:type="dcterms:W3CDTF">2025-12-16T15:2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02F7C9D03C9A4B970D525A7D441278</vt:lpwstr>
  </property>
  <property fmtid="{D5CDD505-2E9C-101B-9397-08002B2CF9AE}" pid="3" name="MSIP_Label_178c0f71-65dc-41d1-a799-91080a268621_Enabled">
    <vt:lpwstr>true</vt:lpwstr>
  </property>
  <property fmtid="{D5CDD505-2E9C-101B-9397-08002B2CF9AE}" pid="4" name="MSIP_Label_178c0f71-65dc-41d1-a799-91080a268621_SetDate">
    <vt:lpwstr>2025-11-17T11:07:19Z</vt:lpwstr>
  </property>
  <property fmtid="{D5CDD505-2E9C-101B-9397-08002B2CF9AE}" pid="5" name="MSIP_Label_178c0f71-65dc-41d1-a799-91080a268621_Method">
    <vt:lpwstr>Standard</vt:lpwstr>
  </property>
  <property fmtid="{D5CDD505-2E9C-101B-9397-08002B2CF9AE}" pid="6" name="MSIP_Label_178c0f71-65dc-41d1-a799-91080a268621_Name">
    <vt:lpwstr>Internal - Crayon Group Only</vt:lpwstr>
  </property>
  <property fmtid="{D5CDD505-2E9C-101B-9397-08002B2CF9AE}" pid="7" name="MSIP_Label_178c0f71-65dc-41d1-a799-91080a268621_SiteId">
    <vt:lpwstr>8f47ad71-44ca-48bf-afe3-56b9360a4495</vt:lpwstr>
  </property>
  <property fmtid="{D5CDD505-2E9C-101B-9397-08002B2CF9AE}" pid="8" name="MSIP_Label_178c0f71-65dc-41d1-a799-91080a268621_ActionId">
    <vt:lpwstr>075901f4-47ec-4d8a-9a3f-c186a563f332</vt:lpwstr>
  </property>
  <property fmtid="{D5CDD505-2E9C-101B-9397-08002B2CF9AE}" pid="9" name="MSIP_Label_178c0f71-65dc-41d1-a799-91080a268621_ContentBits">
    <vt:lpwstr>2</vt:lpwstr>
  </property>
  <property fmtid="{D5CDD505-2E9C-101B-9397-08002B2CF9AE}" pid="10" name="MSIP_Label_178c0f71-65dc-41d1-a799-91080a268621_Tag">
    <vt:lpwstr>10, 3, 0, 2</vt:lpwstr>
  </property>
  <property fmtid="{D5CDD505-2E9C-101B-9397-08002B2CF9AE}" pid="11" name="ClassificationContentMarkingFooterLocations">
    <vt:lpwstr>Office Theme:9\Forside m/ bilde:10</vt:lpwstr>
  </property>
  <property fmtid="{D5CDD505-2E9C-101B-9397-08002B2CF9AE}" pid="12" name="ClassificationContentMarkingFooterText">
    <vt:lpwstr>Internal Only</vt:lpwstr>
  </property>
</Properties>
</file>